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29"/>
  </p:notesMasterIdLst>
  <p:handoutMasterIdLst>
    <p:handoutMasterId r:id="rId30"/>
  </p:handoutMasterIdLst>
  <p:sldIdLst>
    <p:sldId id="256" r:id="rId2"/>
    <p:sldId id="257" r:id="rId3"/>
    <p:sldId id="258" r:id="rId4"/>
    <p:sldId id="259" r:id="rId5"/>
    <p:sldId id="260" r:id="rId6"/>
    <p:sldId id="261" r:id="rId7"/>
    <p:sldId id="262" r:id="rId8"/>
    <p:sldId id="263" r:id="rId9"/>
    <p:sldId id="264" r:id="rId10"/>
    <p:sldId id="265" r:id="rId11"/>
    <p:sldId id="266" r:id="rId12"/>
    <p:sldId id="267" r:id="rId13"/>
    <p:sldId id="268" r:id="rId14"/>
    <p:sldId id="269" r:id="rId15"/>
    <p:sldId id="270" r:id="rId16"/>
    <p:sldId id="271" r:id="rId17"/>
    <p:sldId id="272" r:id="rId18"/>
    <p:sldId id="273" r:id="rId19"/>
    <p:sldId id="274" r:id="rId20"/>
    <p:sldId id="275" r:id="rId21"/>
    <p:sldId id="276" r:id="rId22"/>
    <p:sldId id="277" r:id="rId23"/>
    <p:sldId id="278" r:id="rId24"/>
    <p:sldId id="279" r:id="rId25"/>
    <p:sldId id="283" r:id="rId26"/>
    <p:sldId id="284" r:id="rId27"/>
    <p:sldId id="285" r:id="rId28"/>
  </p:sldIdLst>
  <p:sldSz cx="9144000" cy="6858000" type="screen4x3"/>
  <p:notesSz cx="7099300" cy="10234613"/>
  <p:custDataLst>
    <p:tags r:id="rId31"/>
  </p:custDataLst>
  <p:defaultTextStyle>
    <a:defPPr>
      <a:defRPr lang="de-DE"/>
    </a:defPPr>
    <a:lvl1pPr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3224">
          <p15:clr>
            <a:srgbClr val="A4A3A4"/>
          </p15:clr>
        </p15:guide>
        <p15:guide id="2" pos="2236">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C3C3"/>
    <a:srgbClr val="FFFFFF"/>
    <a:srgbClr val="000000"/>
    <a:srgbClr val="646464"/>
    <a:srgbClr val="E1E1E1"/>
    <a:srgbClr val="F0F0F0"/>
    <a:srgbClr val="FF66CC"/>
    <a:srgbClr val="00749F"/>
    <a:srgbClr val="00A6EB"/>
  </p:clrMru>
  <p:extLst>
    <p:ext uri="{E76CE94A-603C-4142-B9EB-6D1370010A27}">
      <p14:discardImageEditData xmlns:p14="http://schemas.microsoft.com/office/powerpoint/2010/main" val="1"/>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284" autoAdjust="0"/>
    <p:restoredTop sz="89116" autoAdjust="0"/>
  </p:normalViewPr>
  <p:slideViewPr>
    <p:cSldViewPr snapToObjects="1" showGuides="1">
      <p:cViewPr varScale="1">
        <p:scale>
          <a:sx n="142" d="100"/>
          <a:sy n="142" d="100"/>
        </p:scale>
        <p:origin x="1956" y="114"/>
      </p:cViewPr>
      <p:guideLst>
        <p:guide orient="horz" pos="2160"/>
        <p:guide pos="2880"/>
      </p:guideLst>
    </p:cSldViewPr>
  </p:slideViewPr>
  <p:notesTextViewPr>
    <p:cViewPr>
      <p:scale>
        <a:sx n="100" d="100"/>
        <a:sy n="100" d="100"/>
      </p:scale>
      <p:origin x="0" y="0"/>
    </p:cViewPr>
  </p:notesTextViewPr>
  <p:notesViewPr>
    <p:cSldViewPr snapToObjects="1" showGuides="1">
      <p:cViewPr varScale="1">
        <p:scale>
          <a:sx n="97" d="100"/>
          <a:sy n="97" d="100"/>
        </p:scale>
        <p:origin x="4679" y="109"/>
      </p:cViewPr>
      <p:guideLst>
        <p:guide orient="horz" pos="3224"/>
        <p:guide pos="2236"/>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handoutMaster" Target="handoutMasters/handoutMaster1.xml"/><Relationship Id="rId35"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076575" cy="511175"/>
          </a:xfrm>
          <a:prstGeom prst="rect">
            <a:avLst/>
          </a:prstGeom>
        </p:spPr>
        <p:txBody>
          <a:bodyPr vert="horz" lIns="99048" tIns="49524" rIns="99048" bIns="49524" rtlCol="0"/>
          <a:lstStyle>
            <a:lvl1pPr algn="l" eaLnBrk="1" fontAlgn="auto" hangingPunct="1">
              <a:spcBef>
                <a:spcPts val="0"/>
              </a:spcBef>
              <a:spcAft>
                <a:spcPts val="0"/>
              </a:spcAft>
              <a:defRPr sz="1300">
                <a:latin typeface="Arial" panose="020B0604020202020204" pitchFamily="34" charset="0"/>
                <a:cs typeface="+mn-cs"/>
              </a:defRPr>
            </a:lvl1pPr>
          </a:lstStyle>
          <a:p>
            <a:pPr>
              <a:defRPr/>
            </a:pPr>
            <a:endParaRPr lang="de-DE"/>
          </a:p>
        </p:txBody>
      </p:sp>
      <p:sp>
        <p:nvSpPr>
          <p:cNvPr id="3" name="Datumsplatzhalter 2"/>
          <p:cNvSpPr>
            <a:spLocks noGrp="1"/>
          </p:cNvSpPr>
          <p:nvPr>
            <p:ph type="dt" sz="quarter" idx="1"/>
          </p:nvPr>
        </p:nvSpPr>
        <p:spPr>
          <a:xfrm>
            <a:off x="4021138" y="0"/>
            <a:ext cx="3076575" cy="511175"/>
          </a:xfrm>
          <a:prstGeom prst="rect">
            <a:avLst/>
          </a:prstGeom>
        </p:spPr>
        <p:txBody>
          <a:bodyPr vert="horz" lIns="99048" tIns="49524" rIns="99048" bIns="49524" rtlCol="0"/>
          <a:lstStyle>
            <a:lvl1pPr algn="r" eaLnBrk="1" fontAlgn="auto" hangingPunct="1">
              <a:spcBef>
                <a:spcPts val="0"/>
              </a:spcBef>
              <a:spcAft>
                <a:spcPts val="0"/>
              </a:spcAft>
              <a:defRPr sz="1000">
                <a:latin typeface="Arial" pitchFamily="34" charset="0"/>
                <a:cs typeface="Arial" pitchFamily="34" charset="0"/>
              </a:defRPr>
            </a:lvl1pPr>
          </a:lstStyle>
          <a:p>
            <a:pPr>
              <a:defRPr/>
            </a:pPr>
            <a:r>
              <a:rPr lang="de-DE"/>
              <a:t>01.01.2014</a:t>
            </a:r>
            <a:endParaRPr lang="de-DE" sz="1100"/>
          </a:p>
        </p:txBody>
      </p:sp>
      <p:sp>
        <p:nvSpPr>
          <p:cNvPr id="4" name="Fußzeilenplatzhalter 3"/>
          <p:cNvSpPr>
            <a:spLocks noGrp="1"/>
          </p:cNvSpPr>
          <p:nvPr>
            <p:ph type="ftr" sz="quarter" idx="2"/>
          </p:nvPr>
        </p:nvSpPr>
        <p:spPr>
          <a:xfrm>
            <a:off x="0" y="9721850"/>
            <a:ext cx="3076575" cy="511175"/>
          </a:xfrm>
          <a:prstGeom prst="rect">
            <a:avLst/>
          </a:prstGeom>
        </p:spPr>
        <p:txBody>
          <a:bodyPr vert="horz" lIns="99048" tIns="49524" rIns="99048" bIns="49524" rtlCol="0" anchor="b"/>
          <a:lstStyle>
            <a:lvl1pPr algn="l" eaLnBrk="1" fontAlgn="auto" hangingPunct="1">
              <a:spcBef>
                <a:spcPts val="0"/>
              </a:spcBef>
              <a:spcAft>
                <a:spcPts val="0"/>
              </a:spcAft>
              <a:defRPr sz="1000">
                <a:latin typeface="Arial" pitchFamily="34" charset="0"/>
                <a:cs typeface="Arial" pitchFamily="34" charset="0"/>
              </a:defRPr>
            </a:lvl1pPr>
          </a:lstStyle>
          <a:p>
            <a:pPr>
              <a:defRPr/>
            </a:pPr>
            <a:r>
              <a:rPr lang="de-DE"/>
              <a:t>Präsentation Geschäftspartner </a:t>
            </a:r>
            <a:r>
              <a:rPr lang="de-DE" err="1"/>
              <a:t>bAV</a:t>
            </a:r>
            <a:r>
              <a:rPr lang="de-DE"/>
              <a:t> - Teil 2</a:t>
            </a:r>
          </a:p>
        </p:txBody>
      </p:sp>
      <p:sp>
        <p:nvSpPr>
          <p:cNvPr id="5" name="Foliennummernplatzhalter 4"/>
          <p:cNvSpPr>
            <a:spLocks noGrp="1"/>
          </p:cNvSpPr>
          <p:nvPr>
            <p:ph type="sldNum" sz="quarter" idx="3"/>
          </p:nvPr>
        </p:nvSpPr>
        <p:spPr>
          <a:xfrm>
            <a:off x="4021138" y="9721850"/>
            <a:ext cx="3076575" cy="511175"/>
          </a:xfrm>
          <a:prstGeom prst="rect">
            <a:avLst/>
          </a:prstGeom>
        </p:spPr>
        <p:txBody>
          <a:bodyPr vert="horz" wrap="square" lIns="99048" tIns="49524" rIns="99048" bIns="49524" numCol="1" anchor="b" anchorCtr="0" compatLnSpc="1">
            <a:prstTxWarp prst="textNoShape">
              <a:avLst/>
            </a:prstTxWarp>
          </a:bodyPr>
          <a:lstStyle>
            <a:lvl1pPr algn="r" eaLnBrk="1" hangingPunct="1">
              <a:defRPr sz="1000"/>
            </a:lvl1pPr>
          </a:lstStyle>
          <a:p>
            <a:pPr>
              <a:defRPr/>
            </a:pPr>
            <a:fld id="{5FA18FEF-D25D-4F08-ABF5-3CC5EC2D488C}" type="slidenum">
              <a:rPr lang="de-DE" altLang="de-DE"/>
              <a:pPr>
                <a:defRPr/>
              </a:pPr>
              <a:t>‹Nr.›</a:t>
            </a:fld>
            <a:endParaRPr lang="de-DE" altLang="de-DE" sz="1100"/>
          </a:p>
        </p:txBody>
      </p:sp>
    </p:spTree>
    <p:extLst>
      <p:ext uri="{BB962C8B-B14F-4D97-AF65-F5344CB8AC3E}">
        <p14:creationId xmlns:p14="http://schemas.microsoft.com/office/powerpoint/2010/main" val="740202334"/>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076575" cy="511175"/>
          </a:xfrm>
          <a:prstGeom prst="rect">
            <a:avLst/>
          </a:prstGeom>
        </p:spPr>
        <p:txBody>
          <a:bodyPr vert="horz" lIns="99048" tIns="49524" rIns="99048" bIns="49524" rtlCol="0"/>
          <a:lstStyle>
            <a:lvl1pPr algn="l" eaLnBrk="1" fontAlgn="auto" hangingPunct="1">
              <a:spcBef>
                <a:spcPts val="0"/>
              </a:spcBef>
              <a:spcAft>
                <a:spcPts val="0"/>
              </a:spcAft>
              <a:defRPr sz="1300">
                <a:latin typeface="Arial" panose="020B0604020202020204" pitchFamily="34" charset="0"/>
                <a:cs typeface="+mn-cs"/>
              </a:defRPr>
            </a:lvl1pPr>
          </a:lstStyle>
          <a:p>
            <a:pPr>
              <a:defRPr/>
            </a:pPr>
            <a:endParaRPr lang="de-DE"/>
          </a:p>
        </p:txBody>
      </p:sp>
      <p:sp>
        <p:nvSpPr>
          <p:cNvPr id="3" name="Datumsplatzhalter 2"/>
          <p:cNvSpPr>
            <a:spLocks noGrp="1"/>
          </p:cNvSpPr>
          <p:nvPr>
            <p:ph type="dt" idx="1"/>
          </p:nvPr>
        </p:nvSpPr>
        <p:spPr>
          <a:xfrm>
            <a:off x="4021138" y="0"/>
            <a:ext cx="3076575" cy="511175"/>
          </a:xfrm>
          <a:prstGeom prst="rect">
            <a:avLst/>
          </a:prstGeom>
        </p:spPr>
        <p:txBody>
          <a:bodyPr vert="horz" lIns="99048" tIns="49524" rIns="99048" bIns="49524" rtlCol="0"/>
          <a:lstStyle>
            <a:lvl1pPr algn="r" eaLnBrk="1" fontAlgn="auto" hangingPunct="1">
              <a:spcBef>
                <a:spcPts val="0"/>
              </a:spcBef>
              <a:spcAft>
                <a:spcPts val="0"/>
              </a:spcAft>
              <a:defRPr sz="1300">
                <a:latin typeface="Arial" panose="020B0604020202020204" pitchFamily="34" charset="0"/>
                <a:cs typeface="+mn-cs"/>
              </a:defRPr>
            </a:lvl1pPr>
          </a:lstStyle>
          <a:p>
            <a:pPr>
              <a:defRPr/>
            </a:pPr>
            <a:r>
              <a:rPr lang="de-DE"/>
              <a:t>01.01.2014</a:t>
            </a:r>
          </a:p>
        </p:txBody>
      </p:sp>
      <p:sp>
        <p:nvSpPr>
          <p:cNvPr id="4" name="Folienbildplatzhalter 3"/>
          <p:cNvSpPr>
            <a:spLocks noGrp="1" noRot="1" noChangeAspect="1"/>
          </p:cNvSpPr>
          <p:nvPr>
            <p:ph type="sldImg" idx="2"/>
          </p:nvPr>
        </p:nvSpPr>
        <p:spPr>
          <a:xfrm>
            <a:off x="992188" y="768350"/>
            <a:ext cx="5114925" cy="3836988"/>
          </a:xfrm>
          <a:prstGeom prst="rect">
            <a:avLst/>
          </a:prstGeom>
          <a:noFill/>
          <a:ln w="12700">
            <a:solidFill>
              <a:prstClr val="black"/>
            </a:solidFill>
          </a:ln>
        </p:spPr>
        <p:txBody>
          <a:bodyPr vert="horz" lIns="99048" tIns="49524" rIns="99048" bIns="49524" rtlCol="0" anchor="ctr"/>
          <a:lstStyle/>
          <a:p>
            <a:pPr lvl="0"/>
            <a:endParaRPr lang="de-DE" noProof="0">
              <a:sym typeface="Arial" panose="020B0604020202020204" pitchFamily="34" charset="0"/>
            </a:endParaRPr>
          </a:p>
        </p:txBody>
      </p:sp>
      <p:sp>
        <p:nvSpPr>
          <p:cNvPr id="5" name="Notizenplatzhalter 4"/>
          <p:cNvSpPr>
            <a:spLocks noGrp="1"/>
          </p:cNvSpPr>
          <p:nvPr>
            <p:ph type="body" sz="quarter" idx="3"/>
          </p:nvPr>
        </p:nvSpPr>
        <p:spPr>
          <a:xfrm>
            <a:off x="709613" y="4860925"/>
            <a:ext cx="5680075" cy="4605338"/>
          </a:xfrm>
          <a:prstGeom prst="rect">
            <a:avLst/>
          </a:prstGeom>
        </p:spPr>
        <p:txBody>
          <a:bodyPr vert="horz" lIns="99048" tIns="49524" rIns="99048" bIns="49524" rtlCol="0">
            <a:normAutofit/>
          </a:bodyPr>
          <a:lstStyle/>
          <a:p>
            <a:pPr lvl="0"/>
            <a:r>
              <a:rPr lang="de-DE" noProof="0">
                <a:sym typeface="Arial" panose="020B0604020202020204" pitchFamily="34" charset="0"/>
              </a:rPr>
              <a:t>Mastertextformat bearbeiten</a:t>
            </a:r>
          </a:p>
          <a:p>
            <a:pPr lvl="1"/>
            <a:r>
              <a:rPr lang="de-DE" noProof="0">
                <a:sym typeface="Arial" panose="020B0604020202020204" pitchFamily="34" charset="0"/>
              </a:rPr>
              <a:t>Zweite Ebene</a:t>
            </a:r>
          </a:p>
          <a:p>
            <a:pPr lvl="2"/>
            <a:r>
              <a:rPr lang="de-DE" noProof="0">
                <a:sym typeface="Arial" panose="020B0604020202020204" pitchFamily="34" charset="0"/>
              </a:rPr>
              <a:t>Dritte Ebene</a:t>
            </a:r>
          </a:p>
          <a:p>
            <a:pPr lvl="3"/>
            <a:r>
              <a:rPr lang="de-DE" noProof="0">
                <a:sym typeface="Arial" panose="020B0604020202020204" pitchFamily="34" charset="0"/>
              </a:rPr>
              <a:t>Vierte Ebene</a:t>
            </a:r>
          </a:p>
          <a:p>
            <a:pPr lvl="4"/>
            <a:r>
              <a:rPr lang="de-DE" noProof="0">
                <a:sym typeface="Arial" panose="020B0604020202020204" pitchFamily="34" charset="0"/>
              </a:rPr>
              <a:t>Fünfte Ebene</a:t>
            </a:r>
          </a:p>
        </p:txBody>
      </p:sp>
      <p:sp>
        <p:nvSpPr>
          <p:cNvPr id="6" name="Fußzeilenplatzhalter 5"/>
          <p:cNvSpPr>
            <a:spLocks noGrp="1"/>
          </p:cNvSpPr>
          <p:nvPr>
            <p:ph type="ftr" sz="quarter" idx="4"/>
          </p:nvPr>
        </p:nvSpPr>
        <p:spPr>
          <a:xfrm>
            <a:off x="0" y="9721850"/>
            <a:ext cx="3076575" cy="511175"/>
          </a:xfrm>
          <a:prstGeom prst="rect">
            <a:avLst/>
          </a:prstGeom>
        </p:spPr>
        <p:txBody>
          <a:bodyPr vert="horz" lIns="99048" tIns="49524" rIns="99048" bIns="49524" rtlCol="0" anchor="b"/>
          <a:lstStyle>
            <a:lvl1pPr algn="l" eaLnBrk="1" fontAlgn="auto" hangingPunct="1">
              <a:spcBef>
                <a:spcPts val="0"/>
              </a:spcBef>
              <a:spcAft>
                <a:spcPts val="0"/>
              </a:spcAft>
              <a:defRPr sz="1300">
                <a:latin typeface="Arial" panose="020B0604020202020204" pitchFamily="34" charset="0"/>
                <a:cs typeface="+mn-cs"/>
              </a:defRPr>
            </a:lvl1pPr>
          </a:lstStyle>
          <a:p>
            <a:pPr>
              <a:defRPr/>
            </a:pPr>
            <a:endParaRPr lang="de-DE"/>
          </a:p>
        </p:txBody>
      </p:sp>
      <p:sp>
        <p:nvSpPr>
          <p:cNvPr id="7" name="Foliennummernplatzhalter 6"/>
          <p:cNvSpPr>
            <a:spLocks noGrp="1"/>
          </p:cNvSpPr>
          <p:nvPr>
            <p:ph type="sldNum" sz="quarter" idx="5"/>
          </p:nvPr>
        </p:nvSpPr>
        <p:spPr>
          <a:xfrm>
            <a:off x="4021138" y="9721850"/>
            <a:ext cx="3076575" cy="511175"/>
          </a:xfrm>
          <a:prstGeom prst="rect">
            <a:avLst/>
          </a:prstGeom>
        </p:spPr>
        <p:txBody>
          <a:bodyPr vert="horz" wrap="square" lIns="99048" tIns="49524" rIns="99048" bIns="49524" numCol="1" anchor="b" anchorCtr="0" compatLnSpc="1">
            <a:prstTxWarp prst="textNoShape">
              <a:avLst/>
            </a:prstTxWarp>
          </a:bodyPr>
          <a:lstStyle>
            <a:lvl1pPr algn="r" eaLnBrk="1" hangingPunct="1">
              <a:defRPr sz="1300">
                <a:latin typeface="Arial" panose="020B0604020202020204" pitchFamily="34" charset="0"/>
              </a:defRPr>
            </a:lvl1pPr>
          </a:lstStyle>
          <a:p>
            <a:pPr>
              <a:defRPr/>
            </a:pPr>
            <a:fld id="{17DEB09B-7A34-47B6-A734-33AE6AFABC85}" type="slidenum">
              <a:rPr lang="de-DE" altLang="de-DE"/>
              <a:pPr>
                <a:defRPr/>
              </a:pPr>
              <a:t>‹Nr.›</a:t>
            </a:fld>
            <a:endParaRPr lang="de-DE" altLang="de-DE"/>
          </a:p>
        </p:txBody>
      </p:sp>
    </p:spTree>
    <p:extLst>
      <p:ext uri="{BB962C8B-B14F-4D97-AF65-F5344CB8AC3E}">
        <p14:creationId xmlns:p14="http://schemas.microsoft.com/office/powerpoint/2010/main" val="1148456811"/>
      </p:ext>
    </p:extLst>
  </p:cSld>
  <p:clrMap bg1="lt1" tx1="dk1" bg2="lt2" tx2="dk2" accent1="accent1" accent2="accent2" accent3="accent3" accent4="accent4" accent5="accent5" accent6="accent6" hlink="hlink" folHlink="folHlink"/>
  <p:hf hdr="0" ftr="0"/>
  <p:notesStyle>
    <a:lvl1pPr algn="l" defTabSz="457200" rtl="0" eaLnBrk="0" fontAlgn="base" hangingPunct="0">
      <a:spcBef>
        <a:spcPct val="30000"/>
      </a:spcBef>
      <a:spcAft>
        <a:spcPct val="0"/>
      </a:spcAft>
      <a:defRPr sz="1200" kern="1200">
        <a:solidFill>
          <a:schemeClr val="tx1"/>
        </a:solidFill>
        <a:latin typeface="Arial" panose="020B0604020202020204" pitchFamily="34" charset="0"/>
        <a:ea typeface="+mn-ea"/>
        <a:cs typeface="+mn-cs"/>
        <a:sym typeface="Arial" panose="020B0604020202020204" pitchFamily="34" charset="0"/>
      </a:defRPr>
    </a:lvl1pPr>
    <a:lvl2pPr marL="457200" algn="l" defTabSz="457200" rtl="0" eaLnBrk="0" fontAlgn="base" hangingPunct="0">
      <a:spcBef>
        <a:spcPct val="30000"/>
      </a:spcBef>
      <a:spcAft>
        <a:spcPct val="0"/>
      </a:spcAft>
      <a:defRPr sz="1200" kern="1200">
        <a:solidFill>
          <a:schemeClr val="tx1"/>
        </a:solidFill>
        <a:latin typeface="Arial" panose="020B0604020202020204" pitchFamily="34" charset="0"/>
        <a:ea typeface="+mn-ea"/>
        <a:cs typeface="+mn-cs"/>
        <a:sym typeface="Arial" panose="020B0604020202020204" pitchFamily="34" charset="0"/>
      </a:defRPr>
    </a:lvl2pPr>
    <a:lvl3pPr marL="914400" algn="l" defTabSz="457200" rtl="0" eaLnBrk="0" fontAlgn="base" hangingPunct="0">
      <a:spcBef>
        <a:spcPct val="30000"/>
      </a:spcBef>
      <a:spcAft>
        <a:spcPct val="0"/>
      </a:spcAft>
      <a:defRPr sz="1200" kern="1200">
        <a:solidFill>
          <a:schemeClr val="tx1"/>
        </a:solidFill>
        <a:latin typeface="Arial" panose="020B0604020202020204" pitchFamily="34" charset="0"/>
        <a:ea typeface="+mn-ea"/>
        <a:cs typeface="+mn-cs"/>
        <a:sym typeface="Arial" panose="020B0604020202020204" pitchFamily="34" charset="0"/>
      </a:defRPr>
    </a:lvl3pPr>
    <a:lvl4pPr marL="1371600" algn="l" defTabSz="457200" rtl="0" eaLnBrk="0" fontAlgn="base" hangingPunct="0">
      <a:spcBef>
        <a:spcPct val="30000"/>
      </a:spcBef>
      <a:spcAft>
        <a:spcPct val="0"/>
      </a:spcAft>
      <a:defRPr sz="1200" kern="1200">
        <a:solidFill>
          <a:schemeClr val="tx1"/>
        </a:solidFill>
        <a:latin typeface="Arial" panose="020B0604020202020204" pitchFamily="34" charset="0"/>
        <a:ea typeface="+mn-ea"/>
        <a:cs typeface="+mn-cs"/>
        <a:sym typeface="Arial" panose="020B0604020202020204" pitchFamily="34" charset="0"/>
      </a:defRPr>
    </a:lvl4pPr>
    <a:lvl5pPr marL="1828800" algn="l" defTabSz="457200" rtl="0" eaLnBrk="0" fontAlgn="base" hangingPunct="0">
      <a:spcBef>
        <a:spcPct val="30000"/>
      </a:spcBef>
      <a:spcAft>
        <a:spcPct val="0"/>
      </a:spcAft>
      <a:defRPr sz="1200" kern="1200">
        <a:solidFill>
          <a:schemeClr val="tx1"/>
        </a:solidFill>
        <a:latin typeface="Arial" panose="020B0604020202020204" pitchFamily="34" charset="0"/>
        <a:ea typeface="+mn-ea"/>
        <a:cs typeface="+mn-cs"/>
        <a:sym typeface="Arial" panose="020B0604020202020204" pitchFamily="34"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4.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01 (nur Text)">
    <p:spTree>
      <p:nvGrpSpPr>
        <p:cNvPr id="1" name=""/>
        <p:cNvGrpSpPr/>
        <p:nvPr/>
      </p:nvGrpSpPr>
      <p:grpSpPr>
        <a:xfrm>
          <a:off x="0" y="0"/>
          <a:ext cx="0" cy="0"/>
          <a:chOff x="0" y="0"/>
          <a:chExt cx="0" cy="0"/>
        </a:xfrm>
      </p:grpSpPr>
      <p:sp>
        <p:nvSpPr>
          <p:cNvPr id="15" name="Rechteck 14"/>
          <p:cNvSpPr/>
          <p:nvPr userDrawn="1"/>
        </p:nvSpPr>
        <p:spPr>
          <a:xfrm>
            <a:off x="0" y="800708"/>
            <a:ext cx="9144000" cy="6057292"/>
          </a:xfrm>
          <a:prstGeom prst="rect">
            <a:avLst/>
          </a:prstGeom>
          <a:solidFill>
            <a:srgbClr val="F0F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5" name="Objekt 10"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063" name="think-cell Folie" r:id="rId4" imgW="216" imgH="216" progId="TCLayout.ActiveDocument.1">
                  <p:embed/>
                </p:oleObj>
              </mc:Choice>
              <mc:Fallback>
                <p:oleObj name="think-cell Folie" r:id="rId4" imgW="216" imgH="216" progId="TCLayout.ActiveDocument.1">
                  <p:embed/>
                  <p:pic>
                    <p:nvPicPr>
                      <p:cNvPr id="2050" name="Objekt 1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7" name="Abgerundetes Rechteck 18"/>
          <p:cNvSpPr/>
          <p:nvPr userDrawn="1"/>
        </p:nvSpPr>
        <p:spPr>
          <a:xfrm>
            <a:off x="802382" y="2086421"/>
            <a:ext cx="7112770" cy="2193843"/>
          </a:xfrm>
          <a:custGeom>
            <a:avLst/>
            <a:gdLst>
              <a:gd name="connsiteX0" fmla="*/ 0 w 7110000"/>
              <a:gd name="connsiteY0" fmla="*/ 124469 h 2196000"/>
              <a:gd name="connsiteX1" fmla="*/ 124469 w 7110000"/>
              <a:gd name="connsiteY1" fmla="*/ 0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124469 w 7110000"/>
              <a:gd name="connsiteY6" fmla="*/ 2196000 h 2196000"/>
              <a:gd name="connsiteX7" fmla="*/ 0 w 7110000"/>
              <a:gd name="connsiteY7" fmla="*/ 2071531 h 2196000"/>
              <a:gd name="connsiteX8" fmla="*/ 0 w 7110000"/>
              <a:gd name="connsiteY8" fmla="*/ 124469 h 2196000"/>
              <a:gd name="connsiteX0" fmla="*/ 0 w 7110000"/>
              <a:gd name="connsiteY0" fmla="*/ 124469 h 2196000"/>
              <a:gd name="connsiteX1" fmla="*/ 124469 w 7110000"/>
              <a:gd name="connsiteY1" fmla="*/ 0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124469 w 7110000"/>
              <a:gd name="connsiteY6" fmla="*/ 2196000 h 2196000"/>
              <a:gd name="connsiteX7" fmla="*/ 0 w 7110000"/>
              <a:gd name="connsiteY7" fmla="*/ 2071531 h 2196000"/>
              <a:gd name="connsiteX8" fmla="*/ 0 w 7110000"/>
              <a:gd name="connsiteY8" fmla="*/ 124469 h 2196000"/>
              <a:gd name="connsiteX0" fmla="*/ 27698 w 7137698"/>
              <a:gd name="connsiteY0" fmla="*/ 192979 h 2264510"/>
              <a:gd name="connsiteX1" fmla="*/ 31397 w 7137698"/>
              <a:gd name="connsiteY1" fmla="*/ 70666 h 2264510"/>
              <a:gd name="connsiteX2" fmla="*/ 7013229 w 7137698"/>
              <a:gd name="connsiteY2" fmla="*/ 68510 h 2264510"/>
              <a:gd name="connsiteX3" fmla="*/ 7137698 w 7137698"/>
              <a:gd name="connsiteY3" fmla="*/ 192979 h 2264510"/>
              <a:gd name="connsiteX4" fmla="*/ 7137698 w 7137698"/>
              <a:gd name="connsiteY4" fmla="*/ 2140041 h 2264510"/>
              <a:gd name="connsiteX5" fmla="*/ 7013229 w 7137698"/>
              <a:gd name="connsiteY5" fmla="*/ 2264510 h 2264510"/>
              <a:gd name="connsiteX6" fmla="*/ 152167 w 7137698"/>
              <a:gd name="connsiteY6" fmla="*/ 2264510 h 2264510"/>
              <a:gd name="connsiteX7" fmla="*/ 27698 w 7137698"/>
              <a:gd name="connsiteY7" fmla="*/ 2140041 h 2264510"/>
              <a:gd name="connsiteX8" fmla="*/ 27698 w 7137698"/>
              <a:gd name="connsiteY8" fmla="*/ 192979 h 2264510"/>
              <a:gd name="connsiteX0" fmla="*/ 519224 w 7629224"/>
              <a:gd name="connsiteY0" fmla="*/ 2071531 h 2196000"/>
              <a:gd name="connsiteX1" fmla="*/ 522923 w 7629224"/>
              <a:gd name="connsiteY1" fmla="*/ 2156 h 2196000"/>
              <a:gd name="connsiteX2" fmla="*/ 7504755 w 7629224"/>
              <a:gd name="connsiteY2" fmla="*/ 0 h 2196000"/>
              <a:gd name="connsiteX3" fmla="*/ 7629224 w 7629224"/>
              <a:gd name="connsiteY3" fmla="*/ 124469 h 2196000"/>
              <a:gd name="connsiteX4" fmla="*/ 7629224 w 7629224"/>
              <a:gd name="connsiteY4" fmla="*/ 2071531 h 2196000"/>
              <a:gd name="connsiteX5" fmla="*/ 7504755 w 7629224"/>
              <a:gd name="connsiteY5" fmla="*/ 2196000 h 2196000"/>
              <a:gd name="connsiteX6" fmla="*/ 643693 w 7629224"/>
              <a:gd name="connsiteY6" fmla="*/ 2196000 h 2196000"/>
              <a:gd name="connsiteX7" fmla="*/ 519224 w 7629224"/>
              <a:gd name="connsiteY7" fmla="*/ 2071531 h 2196000"/>
              <a:gd name="connsiteX0" fmla="*/ 0 w 7110000"/>
              <a:gd name="connsiteY0" fmla="*/ 2071531 h 2196000"/>
              <a:gd name="connsiteX1" fmla="*/ 3699 w 7110000"/>
              <a:gd name="connsiteY1" fmla="*/ 2156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124469 w 7110000"/>
              <a:gd name="connsiteY6" fmla="*/ 2196000 h 2196000"/>
              <a:gd name="connsiteX7" fmla="*/ 0 w 7110000"/>
              <a:gd name="connsiteY7" fmla="*/ 2071531 h 2196000"/>
              <a:gd name="connsiteX0" fmla="*/ 0 w 7110000"/>
              <a:gd name="connsiteY0" fmla="*/ 2071531 h 2196000"/>
              <a:gd name="connsiteX1" fmla="*/ 3699 w 7110000"/>
              <a:gd name="connsiteY1" fmla="*/ 2156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0 w 7110000"/>
              <a:gd name="connsiteY6" fmla="*/ 2071531 h 2196000"/>
              <a:gd name="connsiteX0" fmla="*/ 0 w 7110000"/>
              <a:gd name="connsiteY0" fmla="*/ 2192301 h 2196000"/>
              <a:gd name="connsiteX1" fmla="*/ 3699 w 7110000"/>
              <a:gd name="connsiteY1" fmla="*/ 2156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0 w 7110000"/>
              <a:gd name="connsiteY6" fmla="*/ 2192301 h 2196000"/>
              <a:gd name="connsiteX0" fmla="*/ 0 w 7110000"/>
              <a:gd name="connsiteY0" fmla="*/ 2192301 h 2196000"/>
              <a:gd name="connsiteX1" fmla="*/ 3699 w 7110000"/>
              <a:gd name="connsiteY1" fmla="*/ 2156 h 2196000"/>
              <a:gd name="connsiteX2" fmla="*/ 6985531 w 7110000"/>
              <a:gd name="connsiteY2" fmla="*/ 0 h 2196000"/>
              <a:gd name="connsiteX3" fmla="*/ 7110000 w 7110000"/>
              <a:gd name="connsiteY3" fmla="*/ 124469 h 2196000"/>
              <a:gd name="connsiteX4" fmla="*/ 6985531 w 7110000"/>
              <a:gd name="connsiteY4" fmla="*/ 2196000 h 2196000"/>
              <a:gd name="connsiteX5" fmla="*/ 0 w 7110000"/>
              <a:gd name="connsiteY5" fmla="*/ 2192301 h 2196000"/>
              <a:gd name="connsiteX0" fmla="*/ 0 w 7112770"/>
              <a:gd name="connsiteY0" fmla="*/ 2192301 h 2193843"/>
              <a:gd name="connsiteX1" fmla="*/ 3699 w 7112770"/>
              <a:gd name="connsiteY1" fmla="*/ 2156 h 2193843"/>
              <a:gd name="connsiteX2" fmla="*/ 6985531 w 7112770"/>
              <a:gd name="connsiteY2" fmla="*/ 0 h 2193843"/>
              <a:gd name="connsiteX3" fmla="*/ 7110000 w 7112770"/>
              <a:gd name="connsiteY3" fmla="*/ 124469 h 2193843"/>
              <a:gd name="connsiteX4" fmla="*/ 7112770 w 7112770"/>
              <a:gd name="connsiteY4" fmla="*/ 2193843 h 2193843"/>
              <a:gd name="connsiteX5" fmla="*/ 0 w 7112770"/>
              <a:gd name="connsiteY5" fmla="*/ 2192301 h 2193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12770" h="2193843">
                <a:moveTo>
                  <a:pt x="0" y="2192301"/>
                </a:moveTo>
                <a:lnTo>
                  <a:pt x="3699" y="2156"/>
                </a:lnTo>
                <a:lnTo>
                  <a:pt x="6985531" y="0"/>
                </a:lnTo>
                <a:cubicBezTo>
                  <a:pt x="7054273" y="0"/>
                  <a:pt x="7110000" y="55727"/>
                  <a:pt x="7110000" y="124469"/>
                </a:cubicBezTo>
                <a:cubicBezTo>
                  <a:pt x="7110923" y="814260"/>
                  <a:pt x="7111847" y="1504052"/>
                  <a:pt x="7112770" y="2193843"/>
                </a:cubicBezTo>
                <a:lnTo>
                  <a:pt x="0" y="2192301"/>
                </a:lnTo>
                <a:close/>
              </a:path>
            </a:pathLst>
          </a:custGeom>
          <a:no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8" name="Auf der gleichen Seite des Rechtecks liegende Ecken abrunden 19"/>
          <p:cNvSpPr/>
          <p:nvPr userDrawn="1"/>
        </p:nvSpPr>
        <p:spPr>
          <a:xfrm>
            <a:off x="802250" y="4334732"/>
            <a:ext cx="7113007" cy="813078"/>
          </a:xfrm>
          <a:custGeom>
            <a:avLst/>
            <a:gdLst>
              <a:gd name="connsiteX0" fmla="*/ 135015 w 7110000"/>
              <a:gd name="connsiteY0" fmla="*/ 0 h 810071"/>
              <a:gd name="connsiteX1" fmla="*/ 6974985 w 7110000"/>
              <a:gd name="connsiteY1" fmla="*/ 0 h 810071"/>
              <a:gd name="connsiteX2" fmla="*/ 7110000 w 7110000"/>
              <a:gd name="connsiteY2" fmla="*/ 135015 h 810071"/>
              <a:gd name="connsiteX3" fmla="*/ 7110000 w 7110000"/>
              <a:gd name="connsiteY3" fmla="*/ 689298 h 810071"/>
              <a:gd name="connsiteX4" fmla="*/ 6989227 w 7110000"/>
              <a:gd name="connsiteY4" fmla="*/ 810071 h 810071"/>
              <a:gd name="connsiteX5" fmla="*/ 120773 w 7110000"/>
              <a:gd name="connsiteY5" fmla="*/ 810071 h 810071"/>
              <a:gd name="connsiteX6" fmla="*/ 0 w 7110000"/>
              <a:gd name="connsiteY6" fmla="*/ 689298 h 810071"/>
              <a:gd name="connsiteX7" fmla="*/ 0 w 7110000"/>
              <a:gd name="connsiteY7" fmla="*/ 135015 h 810071"/>
              <a:gd name="connsiteX8" fmla="*/ 135015 w 7110000"/>
              <a:gd name="connsiteY8" fmla="*/ 0 h 810071"/>
              <a:gd name="connsiteX0" fmla="*/ 135015 w 7110000"/>
              <a:gd name="connsiteY0" fmla="*/ 0 h 810071"/>
              <a:gd name="connsiteX1" fmla="*/ 6974985 w 7110000"/>
              <a:gd name="connsiteY1" fmla="*/ 0 h 810071"/>
              <a:gd name="connsiteX2" fmla="*/ 7110000 w 7110000"/>
              <a:gd name="connsiteY2" fmla="*/ 135015 h 810071"/>
              <a:gd name="connsiteX3" fmla="*/ 7110000 w 7110000"/>
              <a:gd name="connsiteY3" fmla="*/ 689298 h 810071"/>
              <a:gd name="connsiteX4" fmla="*/ 6989227 w 7110000"/>
              <a:gd name="connsiteY4" fmla="*/ 810071 h 810071"/>
              <a:gd name="connsiteX5" fmla="*/ 120773 w 7110000"/>
              <a:gd name="connsiteY5" fmla="*/ 810071 h 810071"/>
              <a:gd name="connsiteX6" fmla="*/ 0 w 7110000"/>
              <a:gd name="connsiteY6" fmla="*/ 689298 h 810071"/>
              <a:gd name="connsiteX7" fmla="*/ 135015 w 7110000"/>
              <a:gd name="connsiteY7" fmla="*/ 0 h 810071"/>
              <a:gd name="connsiteX0" fmla="*/ 0 w 7110132"/>
              <a:gd name="connsiteY0" fmla="*/ 0 h 812947"/>
              <a:gd name="connsiteX1" fmla="*/ 6975117 w 7110132"/>
              <a:gd name="connsiteY1" fmla="*/ 2876 h 812947"/>
              <a:gd name="connsiteX2" fmla="*/ 7110132 w 7110132"/>
              <a:gd name="connsiteY2" fmla="*/ 137891 h 812947"/>
              <a:gd name="connsiteX3" fmla="*/ 7110132 w 7110132"/>
              <a:gd name="connsiteY3" fmla="*/ 692174 h 812947"/>
              <a:gd name="connsiteX4" fmla="*/ 6989359 w 7110132"/>
              <a:gd name="connsiteY4" fmla="*/ 812947 h 812947"/>
              <a:gd name="connsiteX5" fmla="*/ 120905 w 7110132"/>
              <a:gd name="connsiteY5" fmla="*/ 812947 h 812947"/>
              <a:gd name="connsiteX6" fmla="*/ 132 w 7110132"/>
              <a:gd name="connsiteY6" fmla="*/ 692174 h 812947"/>
              <a:gd name="connsiteX7" fmla="*/ 0 w 7110132"/>
              <a:gd name="connsiteY7" fmla="*/ 0 h 812947"/>
              <a:gd name="connsiteX0" fmla="*/ 0 w 7110132"/>
              <a:gd name="connsiteY0" fmla="*/ 0 h 812947"/>
              <a:gd name="connsiteX1" fmla="*/ 7110132 w 7110132"/>
              <a:gd name="connsiteY1" fmla="*/ 137891 h 812947"/>
              <a:gd name="connsiteX2" fmla="*/ 7110132 w 7110132"/>
              <a:gd name="connsiteY2" fmla="*/ 692174 h 812947"/>
              <a:gd name="connsiteX3" fmla="*/ 6989359 w 7110132"/>
              <a:gd name="connsiteY3" fmla="*/ 812947 h 812947"/>
              <a:gd name="connsiteX4" fmla="*/ 120905 w 7110132"/>
              <a:gd name="connsiteY4" fmla="*/ 812947 h 812947"/>
              <a:gd name="connsiteX5" fmla="*/ 132 w 7110132"/>
              <a:gd name="connsiteY5" fmla="*/ 692174 h 812947"/>
              <a:gd name="connsiteX6" fmla="*/ 0 w 7110132"/>
              <a:gd name="connsiteY6" fmla="*/ 0 h 812947"/>
              <a:gd name="connsiteX0" fmla="*/ 0 w 7113007"/>
              <a:gd name="connsiteY0" fmla="*/ 131 h 813078"/>
              <a:gd name="connsiteX1" fmla="*/ 7113007 w 7113007"/>
              <a:gd name="connsiteY1" fmla="*/ 0 h 813078"/>
              <a:gd name="connsiteX2" fmla="*/ 7110132 w 7113007"/>
              <a:gd name="connsiteY2" fmla="*/ 692305 h 813078"/>
              <a:gd name="connsiteX3" fmla="*/ 6989359 w 7113007"/>
              <a:gd name="connsiteY3" fmla="*/ 813078 h 813078"/>
              <a:gd name="connsiteX4" fmla="*/ 120905 w 7113007"/>
              <a:gd name="connsiteY4" fmla="*/ 813078 h 813078"/>
              <a:gd name="connsiteX5" fmla="*/ 132 w 7113007"/>
              <a:gd name="connsiteY5" fmla="*/ 692305 h 813078"/>
              <a:gd name="connsiteX6" fmla="*/ 0 w 7113007"/>
              <a:gd name="connsiteY6" fmla="*/ 131 h 81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13007" h="813078">
                <a:moveTo>
                  <a:pt x="0" y="131"/>
                </a:moveTo>
                <a:lnTo>
                  <a:pt x="7113007" y="0"/>
                </a:lnTo>
                <a:cubicBezTo>
                  <a:pt x="7112049" y="230768"/>
                  <a:pt x="7111090" y="461537"/>
                  <a:pt x="7110132" y="692305"/>
                </a:cubicBezTo>
                <a:cubicBezTo>
                  <a:pt x="7110132" y="759006"/>
                  <a:pt x="7056060" y="813078"/>
                  <a:pt x="6989359" y="813078"/>
                </a:cubicBezTo>
                <a:lnTo>
                  <a:pt x="120905" y="813078"/>
                </a:lnTo>
                <a:cubicBezTo>
                  <a:pt x="54204" y="813078"/>
                  <a:pt x="132" y="759006"/>
                  <a:pt x="132" y="692305"/>
                </a:cubicBezTo>
                <a:lnTo>
                  <a:pt x="0" y="131"/>
                </a:lnTo>
                <a:close/>
              </a:path>
            </a:pathLst>
          </a:custGeom>
          <a:no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de-DE"/>
          </a:p>
        </p:txBody>
      </p:sp>
      <p:sp>
        <p:nvSpPr>
          <p:cNvPr id="29" name="Untertitel 2"/>
          <p:cNvSpPr>
            <a:spLocks noGrp="1"/>
          </p:cNvSpPr>
          <p:nvPr>
            <p:ph type="subTitle" idx="1"/>
          </p:nvPr>
        </p:nvSpPr>
        <p:spPr>
          <a:xfrm>
            <a:off x="1331973" y="3406252"/>
            <a:ext cx="6300000" cy="874011"/>
          </a:xfrm>
          <a:prstGeom prst="rect">
            <a:avLst/>
          </a:prstGeom>
        </p:spPr>
        <p:txBody>
          <a:bodyPr lIns="0" tIns="0" rIns="0" bIns="0" anchor="ctr"/>
          <a:lstStyle>
            <a:lvl1pPr marL="0" indent="0" algn="l">
              <a:lnSpc>
                <a:spcPts val="2100"/>
              </a:lnSpc>
              <a:buNone/>
              <a:defRPr sz="2000">
                <a:solidFill>
                  <a:schemeClr val="tx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
        <p:nvSpPr>
          <p:cNvPr id="30" name="Titel 12"/>
          <p:cNvSpPr>
            <a:spLocks noGrp="1"/>
          </p:cNvSpPr>
          <p:nvPr>
            <p:ph type="title"/>
          </p:nvPr>
        </p:nvSpPr>
        <p:spPr>
          <a:xfrm>
            <a:off x="1331974" y="2425341"/>
            <a:ext cx="6300000" cy="1000274"/>
          </a:xfrm>
        </p:spPr>
        <p:txBody>
          <a:bodyPr/>
          <a:lstStyle>
            <a:lvl1pPr>
              <a:defRPr sz="3200"/>
            </a:lvl1pPr>
          </a:lstStyle>
          <a:p>
            <a:r>
              <a:rPr lang="de-DE" dirty="0"/>
              <a:t>Titelmasterformat durch Klicken bearbeiten</a:t>
            </a:r>
          </a:p>
        </p:txBody>
      </p:sp>
      <p:sp>
        <p:nvSpPr>
          <p:cNvPr id="31" name="Textplatzhalter 8"/>
          <p:cNvSpPr>
            <a:spLocks noGrp="1"/>
          </p:cNvSpPr>
          <p:nvPr>
            <p:ph type="body" sz="quarter" idx="10"/>
          </p:nvPr>
        </p:nvSpPr>
        <p:spPr>
          <a:xfrm>
            <a:off x="1331973" y="4334732"/>
            <a:ext cx="6300001" cy="8130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marL="803275" indent="-803275">
              <a:tabLst>
                <a:tab pos="810000" algn="l"/>
              </a:tabLst>
              <a:defRPr lang="de-DE" b="0" dirty="0" smtClean="0"/>
            </a:lvl1pPr>
          </a:lstStyle>
          <a:p>
            <a:pPr marL="0" lvl="0" indent="0">
              <a:lnSpc>
                <a:spcPts val="2100"/>
              </a:lnSpc>
              <a:buNone/>
            </a:pPr>
            <a:r>
              <a:rPr lang="de-DE" dirty="0"/>
              <a:t>Textmasterformat bearbeiten</a:t>
            </a:r>
          </a:p>
        </p:txBody>
      </p:sp>
      <p:sp>
        <p:nvSpPr>
          <p:cNvPr id="10" name="Textfeld 9"/>
          <p:cNvSpPr txBox="1"/>
          <p:nvPr userDrawn="1"/>
        </p:nvSpPr>
        <p:spPr>
          <a:xfrm>
            <a:off x="0" y="0"/>
            <a:ext cx="6379200" cy="612000"/>
          </a:xfrm>
          <a:prstGeom prst="rect">
            <a:avLst/>
          </a:prstGeom>
          <a:solidFill>
            <a:schemeClr val="bg1"/>
          </a:solidFill>
        </p:spPr>
        <p:txBody>
          <a:bodyPr vert="horz" lIns="360000" tIns="45720" rIns="91440" bIns="45720" rtlCol="0" anchor="ctr"/>
          <a:lstStyle>
            <a:defPPr>
              <a:defRPr lang="de-DE"/>
            </a:defPPr>
            <a:lvl1pPr>
              <a:defRPr sz="1000" b="1">
                <a:solidFill>
                  <a:srgbClr val="000000"/>
                </a:solidFill>
              </a:defRPr>
            </a:lvl1pPr>
          </a:lstStyle>
          <a:p>
            <a:pPr lvl="0"/>
            <a:endParaRPr lang="de-DE" dirty="0"/>
          </a:p>
        </p:txBody>
      </p:sp>
    </p:spTree>
    <p:extLst>
      <p:ext uri="{BB962C8B-B14F-4D97-AF65-F5344CB8AC3E}">
        <p14:creationId xmlns:p14="http://schemas.microsoft.com/office/powerpoint/2010/main" val="183898655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el &amp; Text">
    <p:spTree>
      <p:nvGrpSpPr>
        <p:cNvPr id="1" name=""/>
        <p:cNvGrpSpPr/>
        <p:nvPr/>
      </p:nvGrpSpPr>
      <p:grpSpPr>
        <a:xfrm>
          <a:off x="0" y="0"/>
          <a:ext cx="0" cy="0"/>
          <a:chOff x="0" y="0"/>
          <a:chExt cx="0" cy="0"/>
        </a:xfrm>
      </p:grpSpPr>
      <p:sp>
        <p:nvSpPr>
          <p:cNvPr id="11" name="Titel 10"/>
          <p:cNvSpPr>
            <a:spLocks noGrp="1"/>
          </p:cNvSpPr>
          <p:nvPr>
            <p:ph type="title"/>
          </p:nvPr>
        </p:nvSpPr>
        <p:spPr/>
        <p:txBody>
          <a:bodyPr/>
          <a:lstStyle/>
          <a:p>
            <a:r>
              <a:rPr lang="de-DE" dirty="0"/>
              <a:t>Titelmasterformat durch Klicken bearbeiten</a:t>
            </a:r>
          </a:p>
        </p:txBody>
      </p:sp>
      <p:sp>
        <p:nvSpPr>
          <p:cNvPr id="13" name="Textplatzhalter 12"/>
          <p:cNvSpPr>
            <a:spLocks noGrp="1"/>
          </p:cNvSpPr>
          <p:nvPr>
            <p:ph type="body" sz="quarter" idx="17"/>
          </p:nvPr>
        </p:nvSpPr>
        <p:spPr>
          <a:xfrm>
            <a:off x="358775" y="2087563"/>
            <a:ext cx="8426450" cy="261610"/>
          </a:xfrm>
          <a:prstGeom prst="rect">
            <a:avLst/>
          </a:prstGeom>
        </p:spPr>
        <p:txBody>
          <a:bodyPr>
            <a:spAutoFit/>
          </a:bodyPr>
          <a:lstStyle>
            <a:lvl1pPr marL="0" indent="0">
              <a:defRPr sz="1700"/>
            </a:lvl1pPr>
            <a:lvl2pPr>
              <a:defRPr sz="1700"/>
            </a:lvl2pPr>
            <a:lvl3pPr marL="630238" indent="-269875">
              <a:buSzPct val="80000"/>
              <a:buFontTx/>
              <a:buBlip>
                <a:blip r:embed="rId2"/>
              </a:buBlip>
              <a:defRPr sz="1700"/>
            </a:lvl3pPr>
          </a:lstStyle>
          <a:p>
            <a:pPr lvl="0"/>
            <a:r>
              <a:rPr lang="de-DE" dirty="0"/>
              <a:t>Formatvorlagen des Textmasters bearbeiten</a:t>
            </a:r>
          </a:p>
        </p:txBody>
      </p:sp>
      <p:sp>
        <p:nvSpPr>
          <p:cNvPr id="12" name="Textplatzhalter 12"/>
          <p:cNvSpPr>
            <a:spLocks noGrp="1"/>
          </p:cNvSpPr>
          <p:nvPr>
            <p:ph type="body" sz="quarter" idx="19" hasCustomPrompt="1"/>
          </p:nvPr>
        </p:nvSpPr>
        <p:spPr>
          <a:xfrm>
            <a:off x="358775" y="2600325"/>
            <a:ext cx="8426450" cy="3600449"/>
          </a:xfrm>
          <a:prstGeom prst="rect">
            <a:avLst/>
          </a:prstGeom>
        </p:spPr>
        <p:txBody>
          <a:bodyPr/>
          <a:lstStyle>
            <a:lvl1pPr marL="0" indent="0">
              <a:defRPr sz="1700"/>
            </a:lvl1pPr>
            <a:lvl2pPr>
              <a:defRPr sz="1700"/>
            </a:lvl2pPr>
            <a:lvl3pPr marL="630238" indent="-269875">
              <a:buClr>
                <a:schemeClr val="tx2"/>
              </a:buClr>
              <a:buSzPct val="100000"/>
              <a:buFont typeface="Arial" panose="020B0604020202020204" pitchFamily="34" charset="0"/>
              <a:buChar char="●"/>
              <a:defRPr sz="1700"/>
            </a:lvl3pPr>
          </a:lstStyle>
          <a:p>
            <a:pPr lvl="1"/>
            <a:r>
              <a:rPr lang="de-DE" dirty="0"/>
              <a:t>Zweite Ebene</a:t>
            </a:r>
          </a:p>
          <a:p>
            <a:pPr lvl="2"/>
            <a:r>
              <a:rPr lang="de-DE" dirty="0"/>
              <a:t>Dritte Ebene</a:t>
            </a:r>
          </a:p>
        </p:txBody>
      </p:sp>
      <p:sp>
        <p:nvSpPr>
          <p:cNvPr id="16" name="Textplatzhalter 15"/>
          <p:cNvSpPr>
            <a:spLocks noGrp="1"/>
          </p:cNvSpPr>
          <p:nvPr>
            <p:ph type="body" sz="quarter" idx="18"/>
          </p:nvPr>
        </p:nvSpPr>
        <p:spPr>
          <a:xfrm>
            <a:off x="3176" y="224100"/>
            <a:ext cx="6535647" cy="576000"/>
          </a:xfrm>
          <a:prstGeom prst="rect">
            <a:avLst/>
          </a:prstGeom>
        </p:spPr>
        <p:txBody>
          <a:bodyPr vert="horz" lIns="360000" tIns="0" rIns="0" bIns="0" rtlCol="0" anchor="ctr"/>
          <a:lstStyle>
            <a:lvl1pPr>
              <a:defRPr lang="de-DE" sz="1000" b="0" smtClean="0">
                <a:solidFill>
                  <a:srgbClr val="000000"/>
                </a:solidFill>
                <a:latin typeface="Arial" panose="020B0604020202020204" pitchFamily="34" charset="0"/>
                <a:cs typeface="Arial" panose="020B0604020202020204" pitchFamily="34" charset="0"/>
              </a:defRPr>
            </a:lvl1pPr>
            <a:lvl2pPr>
              <a:defRPr lang="de-DE" smtClean="0">
                <a:latin typeface="Arial" panose="020B0604020202020204" pitchFamily="34" charset="0"/>
                <a:cs typeface="Arial" panose="020B0604020202020204" pitchFamily="34" charset="0"/>
              </a:defRPr>
            </a:lvl2pPr>
            <a:lvl3pPr>
              <a:defRPr lang="de-DE" smtClean="0">
                <a:latin typeface="Arial" panose="020B0604020202020204" pitchFamily="34" charset="0"/>
                <a:cs typeface="Arial" panose="020B0604020202020204" pitchFamily="34" charset="0"/>
              </a:defRPr>
            </a:lvl3pPr>
            <a:lvl4pPr>
              <a:defRPr lang="de-DE" smtClean="0">
                <a:latin typeface="Arial" panose="020B0604020202020204" pitchFamily="34" charset="0"/>
                <a:cs typeface="Arial" panose="020B0604020202020204" pitchFamily="34" charset="0"/>
              </a:defRPr>
            </a:lvl4pPr>
            <a:lvl5pPr>
              <a:defRPr lang="de-DE">
                <a:latin typeface="Arial" panose="020B0604020202020204" pitchFamily="34" charset="0"/>
                <a:cs typeface="Arial" panose="020B0604020202020204" pitchFamily="34" charset="0"/>
              </a:defRPr>
            </a:lvl5pPr>
          </a:lstStyle>
          <a:p>
            <a:pPr lvl="0">
              <a:spcBef>
                <a:spcPct val="0"/>
              </a:spcBef>
              <a:spcAft>
                <a:spcPct val="0"/>
              </a:spcAft>
            </a:pPr>
            <a:endParaRPr lang="de-DE" dirty="0"/>
          </a:p>
        </p:txBody>
      </p:sp>
      <p:sp>
        <p:nvSpPr>
          <p:cNvPr id="3" name="Datumsplatzhalter 2"/>
          <p:cNvSpPr>
            <a:spLocks noGrp="1"/>
          </p:cNvSpPr>
          <p:nvPr>
            <p:ph type="dt" sz="half" idx="20"/>
          </p:nvPr>
        </p:nvSpPr>
        <p:spPr/>
        <p:txBody>
          <a:bodyPr/>
          <a:lstStyle/>
          <a:p>
            <a:r>
              <a:rPr lang="de-DE"/>
              <a:t>01.01.2020</a:t>
            </a:r>
            <a:endParaRPr lang="de-DE" dirty="0"/>
          </a:p>
        </p:txBody>
      </p:sp>
      <p:sp>
        <p:nvSpPr>
          <p:cNvPr id="4" name="Fußzeilenplatzhalter 3"/>
          <p:cNvSpPr>
            <a:spLocks noGrp="1"/>
          </p:cNvSpPr>
          <p:nvPr>
            <p:ph type="ftr" sz="quarter" idx="21"/>
          </p:nvPr>
        </p:nvSpPr>
        <p:spPr/>
        <p:txBody>
          <a:bodyPr/>
          <a:lstStyle/>
          <a:p>
            <a:r>
              <a:rPr lang="de-DE"/>
              <a:t>Präsentation für Arbeitnehmer</a:t>
            </a:r>
            <a:endParaRPr lang="de-DE" dirty="0"/>
          </a:p>
        </p:txBody>
      </p:sp>
      <p:sp>
        <p:nvSpPr>
          <p:cNvPr id="5" name="Foliennummernplatzhalter 4"/>
          <p:cNvSpPr>
            <a:spLocks noGrp="1"/>
          </p:cNvSpPr>
          <p:nvPr>
            <p:ph type="sldNum" sz="quarter" idx="22"/>
          </p:nvPr>
        </p:nvSpPr>
        <p:spPr/>
        <p:txBody>
          <a:bodyPr/>
          <a:lstStyle/>
          <a:p>
            <a:fld id="{BFE8ADF1-837C-463F-9856-54C2D771B21B}" type="slidenum">
              <a:rPr lang="de-DE" smtClean="0"/>
              <a:pPr/>
              <a:t>‹Nr.›</a:t>
            </a:fld>
            <a:endParaRPr lang="de-DE" dirty="0"/>
          </a:p>
        </p:txBody>
      </p:sp>
      <p:sp>
        <p:nvSpPr>
          <p:cNvPr id="14" name="Textplatzhalter 2"/>
          <p:cNvSpPr>
            <a:spLocks noGrp="1"/>
          </p:cNvSpPr>
          <p:nvPr>
            <p:ph type="body" sz="quarter" idx="23"/>
          </p:nvPr>
        </p:nvSpPr>
        <p:spPr>
          <a:xfrm>
            <a:off x="359808" y="6163610"/>
            <a:ext cx="8425416" cy="107722"/>
          </a:xfrm>
        </p:spPr>
        <p:txBody>
          <a:bodyPr lIns="0" tIns="0" rIns="0" bIns="0" anchor="b">
            <a:noAutofit/>
          </a:bodyPr>
          <a:lstStyle>
            <a:lvl1pPr>
              <a:defRPr kumimoji="0" lang="de-DE" sz="700" b="0" i="0" u="none" strike="noStrike" cap="none" spc="0" normalizeH="0" baseline="0" dirty="0">
                <a:ln>
                  <a:noFill/>
                </a:ln>
                <a:solidFill>
                  <a:prstClr val="white">
                    <a:lumMod val="50000"/>
                  </a:prstClr>
                </a:solidFill>
                <a:effectLst/>
                <a:uLnTx/>
                <a:uFillTx/>
                <a:latin typeface="Arial"/>
                <a:cs typeface="Arial" panose="020B0604020202020204" pitchFamily="34" charset="0"/>
              </a:defRPr>
            </a:lvl1pPr>
          </a:lstStyle>
          <a:p>
            <a:pPr marR="0" lvl="0" eaLnBrk="1" fontAlgn="auto" latinLnBrk="0" hangingPunct="1">
              <a:lnSpc>
                <a:spcPct val="100000"/>
              </a:lnSpc>
              <a:spcAft>
                <a:spcPts val="0"/>
              </a:spcAft>
              <a:buClrTx/>
              <a:buSzTx/>
              <a:buFontTx/>
              <a:buNone/>
              <a:tabLst/>
            </a:pPr>
            <a:r>
              <a:rPr lang="de-DE" dirty="0"/>
              <a:t>Formatvorlagen des Textmasters bearbeiten</a:t>
            </a:r>
          </a:p>
        </p:txBody>
      </p:sp>
    </p:spTree>
    <p:extLst>
      <p:ext uri="{BB962C8B-B14F-4D97-AF65-F5344CB8AC3E}">
        <p14:creationId xmlns:p14="http://schemas.microsoft.com/office/powerpoint/2010/main" val="27758483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el, Subline &amp; Text 2spaltig">
    <p:spTree>
      <p:nvGrpSpPr>
        <p:cNvPr id="1" name=""/>
        <p:cNvGrpSpPr/>
        <p:nvPr/>
      </p:nvGrpSpPr>
      <p:grpSpPr>
        <a:xfrm>
          <a:off x="0" y="0"/>
          <a:ext cx="0" cy="0"/>
          <a:chOff x="0" y="0"/>
          <a:chExt cx="0" cy="0"/>
        </a:xfrm>
      </p:grpSpPr>
      <p:sp>
        <p:nvSpPr>
          <p:cNvPr id="11" name="Titel 10"/>
          <p:cNvSpPr>
            <a:spLocks noGrp="1"/>
          </p:cNvSpPr>
          <p:nvPr>
            <p:ph type="title"/>
          </p:nvPr>
        </p:nvSpPr>
        <p:spPr/>
        <p:txBody>
          <a:bodyPr/>
          <a:lstStyle/>
          <a:p>
            <a:r>
              <a:rPr lang="de-DE"/>
              <a:t>Titelmasterformat durch Klicken bearbeiten</a:t>
            </a:r>
          </a:p>
        </p:txBody>
      </p:sp>
      <p:sp>
        <p:nvSpPr>
          <p:cNvPr id="4" name="Textplatzhalter 3"/>
          <p:cNvSpPr>
            <a:spLocks noGrp="1"/>
          </p:cNvSpPr>
          <p:nvPr>
            <p:ph type="body" sz="quarter" idx="20"/>
          </p:nvPr>
        </p:nvSpPr>
        <p:spPr>
          <a:xfrm>
            <a:off x="358775" y="2087563"/>
            <a:ext cx="8426449" cy="261610"/>
          </a:xfrm>
          <a:prstGeom prst="rect">
            <a:avLst/>
          </a:prstGeom>
        </p:spPr>
        <p:txBody>
          <a:bodyPr>
            <a:spAutoFit/>
          </a:bodyPr>
          <a:lstStyle>
            <a:lvl1pPr>
              <a:defRPr sz="1700"/>
            </a:lvl1pPr>
          </a:lstStyle>
          <a:p>
            <a:pPr lvl="0"/>
            <a:r>
              <a:rPr lang="de-DE" dirty="0"/>
              <a:t>Formatvorlagen des Textmasters bearbeiten</a:t>
            </a:r>
          </a:p>
        </p:txBody>
      </p:sp>
      <p:sp>
        <p:nvSpPr>
          <p:cNvPr id="13" name="Textplatzhalter 12"/>
          <p:cNvSpPr>
            <a:spLocks noGrp="1"/>
          </p:cNvSpPr>
          <p:nvPr>
            <p:ph type="body" sz="quarter" idx="17" hasCustomPrompt="1"/>
          </p:nvPr>
        </p:nvSpPr>
        <p:spPr>
          <a:xfrm>
            <a:off x="358775" y="2600325"/>
            <a:ext cx="4033838" cy="3600450"/>
          </a:xfrm>
          <a:prstGeom prst="rect">
            <a:avLst/>
          </a:prstGeom>
        </p:spPr>
        <p:txBody>
          <a:bodyPr vert="horz" lIns="0" tIns="0" rIns="0" bIns="0" rtlCol="0">
            <a:normAutofit/>
          </a:bodyPr>
          <a:lstStyle>
            <a:lvl2pPr>
              <a:defRPr lang="de-DE" dirty="0" smtClean="0"/>
            </a:lvl2pPr>
            <a:lvl3pPr>
              <a:defRPr lang="de-DE" dirty="0" smtClean="0"/>
            </a:lvl3pPr>
          </a:lstStyle>
          <a:p>
            <a:pPr lvl="1"/>
            <a:r>
              <a:rPr lang="de-DE" dirty="0"/>
              <a:t>Zweite Ebene</a:t>
            </a:r>
          </a:p>
          <a:p>
            <a:pPr marL="630238" lvl="2"/>
            <a:r>
              <a:rPr lang="de-DE" dirty="0"/>
              <a:t>Dritte Ebene</a:t>
            </a:r>
          </a:p>
        </p:txBody>
      </p:sp>
      <p:sp>
        <p:nvSpPr>
          <p:cNvPr id="14" name="Inhaltsplatzhalter 2"/>
          <p:cNvSpPr>
            <a:spLocks noGrp="1"/>
          </p:cNvSpPr>
          <p:nvPr>
            <p:ph sz="quarter" idx="19" hasCustomPrompt="1"/>
          </p:nvPr>
        </p:nvSpPr>
        <p:spPr>
          <a:xfrm>
            <a:off x="4751388" y="2600325"/>
            <a:ext cx="4033837" cy="3600450"/>
          </a:xfrm>
          <a:prstGeom prst="rect">
            <a:avLst/>
          </a:prstGeom>
        </p:spPr>
        <p:txBody>
          <a:bodyPr vert="horz" lIns="0" tIns="0" rIns="0" bIns="0" rtlCol="0">
            <a:normAutofit/>
          </a:bodyPr>
          <a:lstStyle>
            <a:lvl2pPr>
              <a:defRPr lang="de-DE" dirty="0" smtClean="0"/>
            </a:lvl2pPr>
            <a:lvl3pPr>
              <a:defRPr lang="de-DE" dirty="0" smtClean="0"/>
            </a:lvl3pPr>
          </a:lstStyle>
          <a:p>
            <a:pPr lvl="1"/>
            <a:r>
              <a:rPr lang="de-DE" dirty="0"/>
              <a:t>Zweite Ebene</a:t>
            </a:r>
          </a:p>
          <a:p>
            <a:pPr marL="630238" lvl="2"/>
            <a:r>
              <a:rPr lang="de-DE" dirty="0"/>
              <a:t>Dritte Ebene</a:t>
            </a:r>
          </a:p>
        </p:txBody>
      </p:sp>
      <p:sp>
        <p:nvSpPr>
          <p:cNvPr id="12" name="Textplatzhalter 15"/>
          <p:cNvSpPr>
            <a:spLocks noGrp="1"/>
          </p:cNvSpPr>
          <p:nvPr>
            <p:ph type="body" sz="quarter" idx="18"/>
          </p:nvPr>
        </p:nvSpPr>
        <p:spPr>
          <a:xfrm>
            <a:off x="3176" y="224100"/>
            <a:ext cx="6535647" cy="576000"/>
          </a:xfrm>
          <a:prstGeom prst="rect">
            <a:avLst/>
          </a:prstGeom>
        </p:spPr>
        <p:txBody>
          <a:bodyPr vert="horz" lIns="360000" tIns="0" rIns="0" bIns="0" rtlCol="0" anchor="ctr"/>
          <a:lstStyle>
            <a:lvl1pPr>
              <a:defRPr lang="de-DE" sz="1000" b="0" smtClean="0">
                <a:solidFill>
                  <a:srgbClr val="000000"/>
                </a:solidFill>
                <a:latin typeface="Arial" panose="020B0604020202020204" pitchFamily="34" charset="0"/>
                <a:cs typeface="Arial" panose="020B0604020202020204" pitchFamily="34" charset="0"/>
              </a:defRPr>
            </a:lvl1pPr>
            <a:lvl2pPr>
              <a:defRPr lang="de-DE" smtClean="0">
                <a:latin typeface="Arial" panose="020B0604020202020204" pitchFamily="34" charset="0"/>
                <a:cs typeface="Arial" panose="020B0604020202020204" pitchFamily="34" charset="0"/>
              </a:defRPr>
            </a:lvl2pPr>
            <a:lvl3pPr>
              <a:defRPr lang="de-DE" smtClean="0">
                <a:latin typeface="Arial" panose="020B0604020202020204" pitchFamily="34" charset="0"/>
                <a:cs typeface="Arial" panose="020B0604020202020204" pitchFamily="34" charset="0"/>
              </a:defRPr>
            </a:lvl3pPr>
            <a:lvl4pPr>
              <a:defRPr lang="de-DE" smtClean="0">
                <a:latin typeface="Arial" panose="020B0604020202020204" pitchFamily="34" charset="0"/>
                <a:cs typeface="Arial" panose="020B0604020202020204" pitchFamily="34" charset="0"/>
              </a:defRPr>
            </a:lvl4pPr>
            <a:lvl5pPr>
              <a:defRPr lang="de-DE">
                <a:latin typeface="Arial" panose="020B0604020202020204" pitchFamily="34" charset="0"/>
                <a:cs typeface="Arial" panose="020B0604020202020204" pitchFamily="34" charset="0"/>
              </a:defRPr>
            </a:lvl5pPr>
          </a:lstStyle>
          <a:p>
            <a:pPr lvl="0">
              <a:spcBef>
                <a:spcPct val="0"/>
              </a:spcBef>
              <a:spcAft>
                <a:spcPct val="0"/>
              </a:spcAft>
            </a:pPr>
            <a:endParaRPr lang="de-DE" dirty="0"/>
          </a:p>
        </p:txBody>
      </p:sp>
      <p:sp>
        <p:nvSpPr>
          <p:cNvPr id="3" name="Datumsplatzhalter 2"/>
          <p:cNvSpPr>
            <a:spLocks noGrp="1"/>
          </p:cNvSpPr>
          <p:nvPr>
            <p:ph type="dt" sz="half" idx="21"/>
          </p:nvPr>
        </p:nvSpPr>
        <p:spPr/>
        <p:txBody>
          <a:bodyPr/>
          <a:lstStyle/>
          <a:p>
            <a:r>
              <a:rPr lang="de-DE"/>
              <a:t>01.01.2020</a:t>
            </a:r>
            <a:endParaRPr lang="de-DE" dirty="0"/>
          </a:p>
        </p:txBody>
      </p:sp>
      <p:sp>
        <p:nvSpPr>
          <p:cNvPr id="5" name="Fußzeilenplatzhalter 4"/>
          <p:cNvSpPr>
            <a:spLocks noGrp="1"/>
          </p:cNvSpPr>
          <p:nvPr>
            <p:ph type="ftr" sz="quarter" idx="22"/>
          </p:nvPr>
        </p:nvSpPr>
        <p:spPr/>
        <p:txBody>
          <a:bodyPr/>
          <a:lstStyle/>
          <a:p>
            <a:r>
              <a:rPr lang="de-DE"/>
              <a:t>Präsentation für Arbeitnehmer</a:t>
            </a:r>
            <a:endParaRPr lang="de-DE" dirty="0"/>
          </a:p>
        </p:txBody>
      </p:sp>
      <p:sp>
        <p:nvSpPr>
          <p:cNvPr id="6" name="Foliennummernplatzhalter 5"/>
          <p:cNvSpPr>
            <a:spLocks noGrp="1"/>
          </p:cNvSpPr>
          <p:nvPr>
            <p:ph type="sldNum" sz="quarter" idx="23"/>
          </p:nvPr>
        </p:nvSpPr>
        <p:spPr/>
        <p:txBody>
          <a:bodyPr/>
          <a:lstStyle/>
          <a:p>
            <a:fld id="{BFE8ADF1-837C-463F-9856-54C2D771B21B}" type="slidenum">
              <a:rPr lang="de-DE" smtClean="0"/>
              <a:pPr/>
              <a:t>‹Nr.›</a:t>
            </a:fld>
            <a:endParaRPr lang="de-DE" dirty="0"/>
          </a:p>
        </p:txBody>
      </p:sp>
      <p:sp>
        <p:nvSpPr>
          <p:cNvPr id="15" name="Textplatzhalter 2"/>
          <p:cNvSpPr>
            <a:spLocks noGrp="1"/>
          </p:cNvSpPr>
          <p:nvPr>
            <p:ph type="body" sz="quarter" idx="24"/>
          </p:nvPr>
        </p:nvSpPr>
        <p:spPr>
          <a:xfrm>
            <a:off x="359808" y="6163610"/>
            <a:ext cx="8425416" cy="107722"/>
          </a:xfrm>
        </p:spPr>
        <p:txBody>
          <a:bodyPr lIns="0" tIns="0" rIns="0" bIns="0" anchor="b">
            <a:noAutofit/>
          </a:bodyPr>
          <a:lstStyle>
            <a:lvl1pPr>
              <a:defRPr kumimoji="0" lang="de-DE" sz="700" b="0" i="0" u="none" strike="noStrike" cap="none" spc="0" normalizeH="0" baseline="0" dirty="0">
                <a:ln>
                  <a:noFill/>
                </a:ln>
                <a:solidFill>
                  <a:prstClr val="white">
                    <a:lumMod val="50000"/>
                  </a:prstClr>
                </a:solidFill>
                <a:effectLst/>
                <a:uLnTx/>
                <a:uFillTx/>
                <a:latin typeface="Arial"/>
                <a:cs typeface="Arial" panose="020B0604020202020204" pitchFamily="34" charset="0"/>
              </a:defRPr>
            </a:lvl1pPr>
          </a:lstStyle>
          <a:p>
            <a:pPr marR="0" lvl="0" eaLnBrk="1" fontAlgn="auto" latinLnBrk="0" hangingPunct="1">
              <a:lnSpc>
                <a:spcPct val="100000"/>
              </a:lnSpc>
              <a:spcAft>
                <a:spcPts val="0"/>
              </a:spcAft>
              <a:buClrTx/>
              <a:buSzTx/>
              <a:buFontTx/>
              <a:buNone/>
              <a:tabLst/>
            </a:pPr>
            <a:r>
              <a:rPr lang="de-DE" dirty="0"/>
              <a:t>Formatvorlagen des Textmasters bearbeiten</a:t>
            </a:r>
          </a:p>
        </p:txBody>
      </p:sp>
    </p:spTree>
    <p:extLst>
      <p:ext uri="{BB962C8B-B14F-4D97-AF65-F5344CB8AC3E}">
        <p14:creationId xmlns:p14="http://schemas.microsoft.com/office/powerpoint/2010/main" val="291861308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el, Subline &amp; Text 2spaltig">
    <p:spTree>
      <p:nvGrpSpPr>
        <p:cNvPr id="1" name=""/>
        <p:cNvGrpSpPr/>
        <p:nvPr/>
      </p:nvGrpSpPr>
      <p:grpSpPr>
        <a:xfrm>
          <a:off x="0" y="0"/>
          <a:ext cx="0" cy="0"/>
          <a:chOff x="0" y="0"/>
          <a:chExt cx="0" cy="0"/>
        </a:xfrm>
      </p:grpSpPr>
      <p:sp>
        <p:nvSpPr>
          <p:cNvPr id="11" name="Titel 10"/>
          <p:cNvSpPr>
            <a:spLocks noGrp="1"/>
          </p:cNvSpPr>
          <p:nvPr>
            <p:ph type="title"/>
          </p:nvPr>
        </p:nvSpPr>
        <p:spPr/>
        <p:txBody>
          <a:bodyPr/>
          <a:lstStyle/>
          <a:p>
            <a:r>
              <a:rPr lang="de-DE"/>
              <a:t>Titelmasterformat durch Klicken bearbeiten</a:t>
            </a:r>
          </a:p>
        </p:txBody>
      </p:sp>
      <p:sp>
        <p:nvSpPr>
          <p:cNvPr id="3" name="Textplatzhalter 2"/>
          <p:cNvSpPr>
            <a:spLocks noGrp="1"/>
          </p:cNvSpPr>
          <p:nvPr>
            <p:ph type="body" sz="quarter" idx="19"/>
          </p:nvPr>
        </p:nvSpPr>
        <p:spPr>
          <a:xfrm>
            <a:off x="358776" y="2087563"/>
            <a:ext cx="4033838" cy="4113211"/>
          </a:xfrm>
        </p:spPr>
        <p:txBody>
          <a:bodyPr/>
          <a:lstStyle>
            <a:lvl1pPr>
              <a:spcAft>
                <a:spcPts val="1100"/>
              </a:spcAft>
              <a:defRPr/>
            </a:lvl1pPr>
          </a:lstStyle>
          <a:p>
            <a:pPr lvl="0"/>
            <a:r>
              <a:rPr lang="de-DE" dirty="0"/>
              <a:t>Formatvorlagen des Textmasters bearbeiten</a:t>
            </a:r>
          </a:p>
        </p:txBody>
      </p:sp>
      <p:sp>
        <p:nvSpPr>
          <p:cNvPr id="16" name="Textplatzhalter 2"/>
          <p:cNvSpPr>
            <a:spLocks noGrp="1"/>
          </p:cNvSpPr>
          <p:nvPr>
            <p:ph type="body" sz="quarter" idx="20"/>
          </p:nvPr>
        </p:nvSpPr>
        <p:spPr>
          <a:xfrm>
            <a:off x="4751388" y="2087563"/>
            <a:ext cx="4033838" cy="4113211"/>
          </a:xfrm>
        </p:spPr>
        <p:txBody>
          <a:bodyPr/>
          <a:lstStyle/>
          <a:p>
            <a:pPr lvl="0"/>
            <a:r>
              <a:rPr lang="de-DE" dirty="0"/>
              <a:t>Formatvorlagen des Textmasters bearbeiten</a:t>
            </a:r>
          </a:p>
        </p:txBody>
      </p:sp>
      <p:sp>
        <p:nvSpPr>
          <p:cNvPr id="13" name="Textplatzhalter 2"/>
          <p:cNvSpPr>
            <a:spLocks noGrp="1"/>
          </p:cNvSpPr>
          <p:nvPr>
            <p:ph type="body" sz="quarter" idx="21" hasCustomPrompt="1"/>
          </p:nvPr>
        </p:nvSpPr>
        <p:spPr>
          <a:xfrm>
            <a:off x="358776" y="2600326"/>
            <a:ext cx="4033838" cy="3600450"/>
          </a:xfrm>
        </p:spPr>
        <p:txBody>
          <a:bodyPr vert="horz" lIns="0" tIns="0" rIns="0" bIns="0" rtlCol="0">
            <a:normAutofit/>
          </a:bodyPr>
          <a:lstStyle>
            <a:lvl2pPr>
              <a:defRPr lang="de-DE" dirty="0" smtClean="0"/>
            </a:lvl2pPr>
            <a:lvl3pPr>
              <a:defRPr lang="de-DE" dirty="0" smtClean="0"/>
            </a:lvl3pPr>
          </a:lstStyle>
          <a:p>
            <a:pPr lvl="1"/>
            <a:r>
              <a:rPr lang="de-DE" dirty="0"/>
              <a:t>Zweite Ebene</a:t>
            </a:r>
          </a:p>
          <a:p>
            <a:pPr marL="630238" lvl="2"/>
            <a:r>
              <a:rPr lang="de-DE" dirty="0"/>
              <a:t>Dritte Ebene</a:t>
            </a:r>
          </a:p>
        </p:txBody>
      </p:sp>
      <p:sp>
        <p:nvSpPr>
          <p:cNvPr id="14" name="Textplatzhalter 2"/>
          <p:cNvSpPr>
            <a:spLocks noGrp="1"/>
          </p:cNvSpPr>
          <p:nvPr>
            <p:ph type="body" sz="quarter" idx="22" hasCustomPrompt="1"/>
          </p:nvPr>
        </p:nvSpPr>
        <p:spPr>
          <a:xfrm>
            <a:off x="4751388" y="2600326"/>
            <a:ext cx="4033838" cy="3600450"/>
          </a:xfrm>
        </p:spPr>
        <p:txBody>
          <a:bodyPr vert="horz" lIns="0" tIns="0" rIns="0" bIns="0" rtlCol="0">
            <a:normAutofit/>
          </a:bodyPr>
          <a:lstStyle>
            <a:lvl2pPr>
              <a:defRPr lang="de-DE" dirty="0" smtClean="0"/>
            </a:lvl2pPr>
            <a:lvl3pPr>
              <a:defRPr lang="de-DE" dirty="0" smtClean="0"/>
            </a:lvl3pPr>
          </a:lstStyle>
          <a:p>
            <a:pPr lvl="1"/>
            <a:r>
              <a:rPr lang="de-DE" dirty="0"/>
              <a:t>Zweite Ebene</a:t>
            </a:r>
          </a:p>
          <a:p>
            <a:pPr marL="630238" lvl="2"/>
            <a:r>
              <a:rPr lang="de-DE" dirty="0"/>
              <a:t>Dritte Ebene</a:t>
            </a:r>
          </a:p>
        </p:txBody>
      </p:sp>
      <p:sp>
        <p:nvSpPr>
          <p:cNvPr id="12" name="Textplatzhalter 15"/>
          <p:cNvSpPr>
            <a:spLocks noGrp="1"/>
          </p:cNvSpPr>
          <p:nvPr>
            <p:ph type="body" sz="quarter" idx="18"/>
          </p:nvPr>
        </p:nvSpPr>
        <p:spPr>
          <a:xfrm>
            <a:off x="3176" y="224100"/>
            <a:ext cx="6535647" cy="576000"/>
          </a:xfrm>
          <a:prstGeom prst="rect">
            <a:avLst/>
          </a:prstGeom>
        </p:spPr>
        <p:txBody>
          <a:bodyPr vert="horz" lIns="360000" tIns="0" rIns="0" bIns="0" rtlCol="0" anchor="ctr"/>
          <a:lstStyle>
            <a:lvl1pPr>
              <a:defRPr lang="de-DE" sz="1000" b="0" smtClean="0">
                <a:solidFill>
                  <a:srgbClr val="000000"/>
                </a:solidFill>
                <a:latin typeface="Arial" panose="020B0604020202020204" pitchFamily="34" charset="0"/>
                <a:cs typeface="Arial" panose="020B0604020202020204" pitchFamily="34" charset="0"/>
              </a:defRPr>
            </a:lvl1pPr>
            <a:lvl2pPr>
              <a:defRPr lang="de-DE" smtClean="0">
                <a:latin typeface="Arial" panose="020B0604020202020204" pitchFamily="34" charset="0"/>
                <a:cs typeface="Arial" panose="020B0604020202020204" pitchFamily="34" charset="0"/>
              </a:defRPr>
            </a:lvl2pPr>
            <a:lvl3pPr>
              <a:defRPr lang="de-DE" smtClean="0">
                <a:latin typeface="Arial" panose="020B0604020202020204" pitchFamily="34" charset="0"/>
                <a:cs typeface="Arial" panose="020B0604020202020204" pitchFamily="34" charset="0"/>
              </a:defRPr>
            </a:lvl3pPr>
            <a:lvl4pPr>
              <a:defRPr lang="de-DE" smtClean="0">
                <a:latin typeface="Arial" panose="020B0604020202020204" pitchFamily="34" charset="0"/>
                <a:cs typeface="Arial" panose="020B0604020202020204" pitchFamily="34" charset="0"/>
              </a:defRPr>
            </a:lvl4pPr>
            <a:lvl5pPr>
              <a:defRPr lang="de-DE">
                <a:latin typeface="Arial" panose="020B0604020202020204" pitchFamily="34" charset="0"/>
                <a:cs typeface="Arial" panose="020B0604020202020204" pitchFamily="34" charset="0"/>
              </a:defRPr>
            </a:lvl5pPr>
          </a:lstStyle>
          <a:p>
            <a:pPr lvl="0">
              <a:spcBef>
                <a:spcPct val="0"/>
              </a:spcBef>
              <a:spcAft>
                <a:spcPct val="0"/>
              </a:spcAft>
            </a:pPr>
            <a:endParaRPr lang="de-DE" dirty="0"/>
          </a:p>
        </p:txBody>
      </p:sp>
      <p:sp>
        <p:nvSpPr>
          <p:cNvPr id="4" name="Datumsplatzhalter 3"/>
          <p:cNvSpPr>
            <a:spLocks noGrp="1"/>
          </p:cNvSpPr>
          <p:nvPr>
            <p:ph type="dt" sz="half" idx="23"/>
          </p:nvPr>
        </p:nvSpPr>
        <p:spPr/>
        <p:txBody>
          <a:bodyPr/>
          <a:lstStyle/>
          <a:p>
            <a:r>
              <a:rPr lang="de-DE"/>
              <a:t>01.01.2020</a:t>
            </a:r>
            <a:endParaRPr lang="de-DE" dirty="0"/>
          </a:p>
        </p:txBody>
      </p:sp>
      <p:sp>
        <p:nvSpPr>
          <p:cNvPr id="5" name="Fußzeilenplatzhalter 4"/>
          <p:cNvSpPr>
            <a:spLocks noGrp="1"/>
          </p:cNvSpPr>
          <p:nvPr>
            <p:ph type="ftr" sz="quarter" idx="24"/>
          </p:nvPr>
        </p:nvSpPr>
        <p:spPr/>
        <p:txBody>
          <a:bodyPr/>
          <a:lstStyle/>
          <a:p>
            <a:r>
              <a:rPr lang="de-DE"/>
              <a:t>Präsentation für Arbeitnehmer</a:t>
            </a:r>
            <a:endParaRPr lang="de-DE" dirty="0"/>
          </a:p>
        </p:txBody>
      </p:sp>
      <p:sp>
        <p:nvSpPr>
          <p:cNvPr id="6" name="Foliennummernplatzhalter 5"/>
          <p:cNvSpPr>
            <a:spLocks noGrp="1"/>
          </p:cNvSpPr>
          <p:nvPr>
            <p:ph type="sldNum" sz="quarter" idx="25"/>
          </p:nvPr>
        </p:nvSpPr>
        <p:spPr/>
        <p:txBody>
          <a:bodyPr/>
          <a:lstStyle/>
          <a:p>
            <a:fld id="{BFE8ADF1-837C-463F-9856-54C2D771B21B}" type="slidenum">
              <a:rPr lang="de-DE" smtClean="0"/>
              <a:pPr/>
              <a:t>‹Nr.›</a:t>
            </a:fld>
            <a:endParaRPr lang="de-DE" dirty="0"/>
          </a:p>
        </p:txBody>
      </p:sp>
      <p:sp>
        <p:nvSpPr>
          <p:cNvPr id="15" name="Textplatzhalter 2"/>
          <p:cNvSpPr>
            <a:spLocks noGrp="1"/>
          </p:cNvSpPr>
          <p:nvPr>
            <p:ph type="body" sz="quarter" idx="26"/>
          </p:nvPr>
        </p:nvSpPr>
        <p:spPr>
          <a:xfrm>
            <a:off x="359808" y="6163610"/>
            <a:ext cx="8425416" cy="107722"/>
          </a:xfrm>
        </p:spPr>
        <p:txBody>
          <a:bodyPr lIns="0" tIns="0" rIns="0" bIns="0" anchor="b">
            <a:noAutofit/>
          </a:bodyPr>
          <a:lstStyle>
            <a:lvl1pPr>
              <a:defRPr kumimoji="0" lang="de-DE" sz="700" b="0" i="0" u="none" strike="noStrike" cap="none" spc="0" normalizeH="0" baseline="0" dirty="0">
                <a:ln>
                  <a:noFill/>
                </a:ln>
                <a:solidFill>
                  <a:prstClr val="white">
                    <a:lumMod val="50000"/>
                  </a:prstClr>
                </a:solidFill>
                <a:effectLst/>
                <a:uLnTx/>
                <a:uFillTx/>
                <a:latin typeface="Arial"/>
                <a:cs typeface="Arial" panose="020B0604020202020204" pitchFamily="34" charset="0"/>
              </a:defRPr>
            </a:lvl1pPr>
          </a:lstStyle>
          <a:p>
            <a:pPr marR="0" lvl="0" eaLnBrk="1" fontAlgn="auto" latinLnBrk="0" hangingPunct="1">
              <a:lnSpc>
                <a:spcPct val="100000"/>
              </a:lnSpc>
              <a:spcAft>
                <a:spcPts val="0"/>
              </a:spcAft>
              <a:buClrTx/>
              <a:buSzTx/>
              <a:buFontTx/>
              <a:buNone/>
              <a:tabLst/>
            </a:pPr>
            <a:r>
              <a:rPr lang="de-DE" dirty="0"/>
              <a:t>Formatvorlagen des Textmasters bearbeiten</a:t>
            </a:r>
          </a:p>
        </p:txBody>
      </p:sp>
    </p:spTree>
    <p:extLst>
      <p:ext uri="{BB962C8B-B14F-4D97-AF65-F5344CB8AC3E}">
        <p14:creationId xmlns:p14="http://schemas.microsoft.com/office/powerpoint/2010/main" val="492925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el, Subline &amp; Text 2spaltig &amp; Fazit">
    <p:spTree>
      <p:nvGrpSpPr>
        <p:cNvPr id="1" name=""/>
        <p:cNvGrpSpPr/>
        <p:nvPr/>
      </p:nvGrpSpPr>
      <p:grpSpPr>
        <a:xfrm>
          <a:off x="0" y="0"/>
          <a:ext cx="0" cy="0"/>
          <a:chOff x="0" y="0"/>
          <a:chExt cx="0" cy="0"/>
        </a:xfrm>
      </p:grpSpPr>
      <p:sp>
        <p:nvSpPr>
          <p:cNvPr id="11" name="Titel 10"/>
          <p:cNvSpPr>
            <a:spLocks noGrp="1"/>
          </p:cNvSpPr>
          <p:nvPr>
            <p:ph type="title"/>
          </p:nvPr>
        </p:nvSpPr>
        <p:spPr/>
        <p:txBody>
          <a:bodyPr/>
          <a:lstStyle/>
          <a:p>
            <a:r>
              <a:rPr lang="de-DE"/>
              <a:t>Titelmasterformat durch Klicken bearbeiten</a:t>
            </a:r>
          </a:p>
        </p:txBody>
      </p:sp>
      <p:sp>
        <p:nvSpPr>
          <p:cNvPr id="13" name="Textplatzhalter 12"/>
          <p:cNvSpPr>
            <a:spLocks noGrp="1"/>
          </p:cNvSpPr>
          <p:nvPr>
            <p:ph type="body" sz="quarter" idx="17" hasCustomPrompt="1"/>
          </p:nvPr>
        </p:nvSpPr>
        <p:spPr>
          <a:xfrm>
            <a:off x="358774" y="2600325"/>
            <a:ext cx="8426449" cy="2952750"/>
          </a:xfrm>
          <a:prstGeom prst="rect">
            <a:avLst/>
          </a:prstGeom>
        </p:spPr>
        <p:txBody>
          <a:bodyPr vert="horz" lIns="0" tIns="0" rIns="0" bIns="0" rtlCol="0">
            <a:normAutofit/>
          </a:bodyPr>
          <a:lstStyle>
            <a:lvl2pPr>
              <a:defRPr lang="de-DE" dirty="0" smtClean="0"/>
            </a:lvl2pPr>
            <a:lvl3pPr>
              <a:defRPr lang="de-DE" dirty="0" smtClean="0"/>
            </a:lvl3pPr>
          </a:lstStyle>
          <a:p>
            <a:pPr lvl="1"/>
            <a:r>
              <a:rPr lang="de-DE" dirty="0"/>
              <a:t>Zweite Ebene</a:t>
            </a:r>
          </a:p>
          <a:p>
            <a:pPr marL="630238" lvl="2"/>
            <a:r>
              <a:rPr lang="de-DE" dirty="0"/>
              <a:t>Dritte Ebene</a:t>
            </a:r>
          </a:p>
        </p:txBody>
      </p:sp>
      <p:sp>
        <p:nvSpPr>
          <p:cNvPr id="15" name="Textplatzhalter 3"/>
          <p:cNvSpPr>
            <a:spLocks noGrp="1"/>
          </p:cNvSpPr>
          <p:nvPr>
            <p:ph type="body" sz="quarter" idx="21"/>
          </p:nvPr>
        </p:nvSpPr>
        <p:spPr>
          <a:xfrm>
            <a:off x="358775" y="2087563"/>
            <a:ext cx="8426449" cy="261610"/>
          </a:xfrm>
          <a:prstGeom prst="rect">
            <a:avLst/>
          </a:prstGeom>
        </p:spPr>
        <p:txBody>
          <a:bodyPr>
            <a:spAutoFit/>
          </a:bodyPr>
          <a:lstStyle>
            <a:lvl1pPr>
              <a:defRPr sz="1700"/>
            </a:lvl1pPr>
          </a:lstStyle>
          <a:p>
            <a:pPr lvl="0"/>
            <a:r>
              <a:rPr lang="de-DE" dirty="0"/>
              <a:t>Formatvorlagen des Textmasters bearbeiten</a:t>
            </a:r>
          </a:p>
        </p:txBody>
      </p:sp>
      <p:sp>
        <p:nvSpPr>
          <p:cNvPr id="12" name="Textplatzhalter 2"/>
          <p:cNvSpPr>
            <a:spLocks noGrp="1"/>
          </p:cNvSpPr>
          <p:nvPr>
            <p:ph type="body" sz="quarter" idx="23"/>
          </p:nvPr>
        </p:nvSpPr>
        <p:spPr>
          <a:xfrm>
            <a:off x="359808" y="6163610"/>
            <a:ext cx="8425416" cy="107722"/>
          </a:xfrm>
        </p:spPr>
        <p:txBody>
          <a:bodyPr lIns="0" tIns="0" rIns="0" bIns="0" anchor="b">
            <a:noAutofit/>
          </a:bodyPr>
          <a:lstStyle>
            <a:lvl1pPr>
              <a:defRPr kumimoji="0" lang="de-DE" sz="700" b="0" i="0" u="none" strike="noStrike" cap="none" spc="0" normalizeH="0" baseline="0" dirty="0">
                <a:ln>
                  <a:noFill/>
                </a:ln>
                <a:solidFill>
                  <a:prstClr val="white">
                    <a:lumMod val="50000"/>
                  </a:prstClr>
                </a:solidFill>
                <a:effectLst/>
                <a:uLnTx/>
                <a:uFillTx/>
                <a:latin typeface="Arial"/>
                <a:cs typeface="Arial" panose="020B0604020202020204" pitchFamily="34" charset="0"/>
              </a:defRPr>
            </a:lvl1pPr>
          </a:lstStyle>
          <a:p>
            <a:pPr marR="0" lvl="0" eaLnBrk="1" fontAlgn="auto" latinLnBrk="0" hangingPunct="1">
              <a:lnSpc>
                <a:spcPct val="100000"/>
              </a:lnSpc>
              <a:spcAft>
                <a:spcPts val="0"/>
              </a:spcAft>
              <a:buClrTx/>
              <a:buSzTx/>
              <a:buFontTx/>
              <a:buNone/>
              <a:tabLst/>
            </a:pPr>
            <a:r>
              <a:rPr lang="de-DE" dirty="0"/>
              <a:t>Formatvorlagen des Textmasters bearbeiten</a:t>
            </a:r>
          </a:p>
        </p:txBody>
      </p:sp>
      <p:pic>
        <p:nvPicPr>
          <p:cNvPr id="16" name="Grafik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9808" y="5448291"/>
            <a:ext cx="396000" cy="396000"/>
          </a:xfrm>
          <a:prstGeom prst="rect">
            <a:avLst/>
          </a:prstGeom>
        </p:spPr>
      </p:pic>
      <p:sp>
        <p:nvSpPr>
          <p:cNvPr id="17" name="Textplatzhalter 4"/>
          <p:cNvSpPr>
            <a:spLocks noGrp="1"/>
          </p:cNvSpPr>
          <p:nvPr>
            <p:ph type="body" sz="quarter" idx="24"/>
          </p:nvPr>
        </p:nvSpPr>
        <p:spPr>
          <a:xfrm>
            <a:off x="914401" y="5394511"/>
            <a:ext cx="7870822" cy="622300"/>
          </a:xfrm>
        </p:spPr>
        <p:txBody>
          <a:bodyPr lIns="0" tIns="0" rIns="0" bIns="72000" anchor="ctr">
            <a:noAutofit/>
          </a:bodyPr>
          <a:lstStyle>
            <a:lvl1pPr>
              <a:defRPr lang="de-DE" b="0" dirty="0">
                <a:solidFill>
                  <a:schemeClr val="accent6"/>
                </a:solidFill>
              </a:defRPr>
            </a:lvl1pPr>
          </a:lstStyle>
          <a:p>
            <a:pPr lvl="0">
              <a:spcAft>
                <a:spcPts val="0"/>
              </a:spcAft>
            </a:pPr>
            <a:r>
              <a:rPr lang="de-DE" dirty="0"/>
              <a:t>Formatvorlagen des Textmasters bearbeiten</a:t>
            </a:r>
          </a:p>
        </p:txBody>
      </p:sp>
      <p:sp>
        <p:nvSpPr>
          <p:cNvPr id="19" name="Textplatzhalter 15"/>
          <p:cNvSpPr>
            <a:spLocks noGrp="1"/>
          </p:cNvSpPr>
          <p:nvPr>
            <p:ph type="body" sz="quarter" idx="18"/>
          </p:nvPr>
        </p:nvSpPr>
        <p:spPr>
          <a:xfrm>
            <a:off x="3176" y="224100"/>
            <a:ext cx="6535647" cy="576000"/>
          </a:xfrm>
          <a:prstGeom prst="rect">
            <a:avLst/>
          </a:prstGeom>
        </p:spPr>
        <p:txBody>
          <a:bodyPr vert="horz" lIns="360000" tIns="0" rIns="0" bIns="0" rtlCol="0" anchor="ctr"/>
          <a:lstStyle>
            <a:lvl1pPr>
              <a:defRPr lang="de-DE" sz="1000" b="0" smtClean="0">
                <a:solidFill>
                  <a:srgbClr val="000000"/>
                </a:solidFill>
                <a:latin typeface="Arial" panose="020B0604020202020204" pitchFamily="34" charset="0"/>
                <a:cs typeface="Arial" panose="020B0604020202020204" pitchFamily="34" charset="0"/>
              </a:defRPr>
            </a:lvl1pPr>
            <a:lvl2pPr>
              <a:defRPr lang="de-DE" smtClean="0">
                <a:latin typeface="Arial" panose="020B0604020202020204" pitchFamily="34" charset="0"/>
                <a:cs typeface="Arial" panose="020B0604020202020204" pitchFamily="34" charset="0"/>
              </a:defRPr>
            </a:lvl2pPr>
            <a:lvl3pPr>
              <a:defRPr lang="de-DE" smtClean="0">
                <a:latin typeface="Arial" panose="020B0604020202020204" pitchFamily="34" charset="0"/>
                <a:cs typeface="Arial" panose="020B0604020202020204" pitchFamily="34" charset="0"/>
              </a:defRPr>
            </a:lvl3pPr>
            <a:lvl4pPr>
              <a:defRPr lang="de-DE" smtClean="0">
                <a:latin typeface="Arial" panose="020B0604020202020204" pitchFamily="34" charset="0"/>
                <a:cs typeface="Arial" panose="020B0604020202020204" pitchFamily="34" charset="0"/>
              </a:defRPr>
            </a:lvl4pPr>
            <a:lvl5pPr>
              <a:defRPr lang="de-DE">
                <a:latin typeface="Arial" panose="020B0604020202020204" pitchFamily="34" charset="0"/>
                <a:cs typeface="Arial" panose="020B0604020202020204" pitchFamily="34" charset="0"/>
              </a:defRPr>
            </a:lvl5pPr>
          </a:lstStyle>
          <a:p>
            <a:pPr lvl="0">
              <a:spcBef>
                <a:spcPct val="0"/>
              </a:spcBef>
              <a:spcAft>
                <a:spcPct val="0"/>
              </a:spcAft>
            </a:pPr>
            <a:endParaRPr lang="de-DE" dirty="0"/>
          </a:p>
        </p:txBody>
      </p:sp>
      <p:sp>
        <p:nvSpPr>
          <p:cNvPr id="3" name="Datumsplatzhalter 2"/>
          <p:cNvSpPr>
            <a:spLocks noGrp="1"/>
          </p:cNvSpPr>
          <p:nvPr>
            <p:ph type="dt" sz="half" idx="25"/>
          </p:nvPr>
        </p:nvSpPr>
        <p:spPr/>
        <p:txBody>
          <a:bodyPr/>
          <a:lstStyle/>
          <a:p>
            <a:r>
              <a:rPr lang="de-DE"/>
              <a:t>01.01.2020</a:t>
            </a:r>
            <a:endParaRPr lang="de-DE" dirty="0"/>
          </a:p>
        </p:txBody>
      </p:sp>
      <p:sp>
        <p:nvSpPr>
          <p:cNvPr id="4" name="Fußzeilenplatzhalter 3"/>
          <p:cNvSpPr>
            <a:spLocks noGrp="1"/>
          </p:cNvSpPr>
          <p:nvPr>
            <p:ph type="ftr" sz="quarter" idx="26"/>
          </p:nvPr>
        </p:nvSpPr>
        <p:spPr/>
        <p:txBody>
          <a:bodyPr/>
          <a:lstStyle/>
          <a:p>
            <a:r>
              <a:rPr lang="de-DE"/>
              <a:t>Präsentation für Arbeitnehmer</a:t>
            </a:r>
            <a:endParaRPr lang="de-DE" dirty="0"/>
          </a:p>
        </p:txBody>
      </p:sp>
      <p:sp>
        <p:nvSpPr>
          <p:cNvPr id="5" name="Foliennummernplatzhalter 4"/>
          <p:cNvSpPr>
            <a:spLocks noGrp="1"/>
          </p:cNvSpPr>
          <p:nvPr>
            <p:ph type="sldNum" sz="quarter" idx="27"/>
          </p:nvPr>
        </p:nvSpPr>
        <p:spPr/>
        <p:txBody>
          <a:bodyPr/>
          <a:lstStyle/>
          <a:p>
            <a:fld id="{BFE8ADF1-837C-463F-9856-54C2D771B21B}" type="slidenum">
              <a:rPr lang="de-DE" smtClean="0"/>
              <a:pPr/>
              <a:t>‹Nr.›</a:t>
            </a:fld>
            <a:endParaRPr lang="de-DE" dirty="0"/>
          </a:p>
        </p:txBody>
      </p:sp>
    </p:spTree>
    <p:extLst>
      <p:ext uri="{BB962C8B-B14F-4D97-AF65-F5344CB8AC3E}">
        <p14:creationId xmlns:p14="http://schemas.microsoft.com/office/powerpoint/2010/main" val="328126620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Subline &amp; Text 2spaltig &amp; Fazit">
    <p:spTree>
      <p:nvGrpSpPr>
        <p:cNvPr id="1" name=""/>
        <p:cNvGrpSpPr/>
        <p:nvPr/>
      </p:nvGrpSpPr>
      <p:grpSpPr>
        <a:xfrm>
          <a:off x="0" y="0"/>
          <a:ext cx="0" cy="0"/>
          <a:chOff x="0" y="0"/>
          <a:chExt cx="0" cy="0"/>
        </a:xfrm>
      </p:grpSpPr>
      <p:sp>
        <p:nvSpPr>
          <p:cNvPr id="11" name="Titel 10"/>
          <p:cNvSpPr>
            <a:spLocks noGrp="1"/>
          </p:cNvSpPr>
          <p:nvPr>
            <p:ph type="title"/>
          </p:nvPr>
        </p:nvSpPr>
        <p:spPr/>
        <p:txBody>
          <a:bodyPr/>
          <a:lstStyle/>
          <a:p>
            <a:r>
              <a:rPr lang="de-DE"/>
              <a:t>Titelmasterformat durch Klicken bearbeiten</a:t>
            </a:r>
          </a:p>
        </p:txBody>
      </p:sp>
      <p:sp>
        <p:nvSpPr>
          <p:cNvPr id="13" name="Textplatzhalter 12"/>
          <p:cNvSpPr>
            <a:spLocks noGrp="1"/>
          </p:cNvSpPr>
          <p:nvPr>
            <p:ph type="body" sz="quarter" idx="17" hasCustomPrompt="1"/>
          </p:nvPr>
        </p:nvSpPr>
        <p:spPr>
          <a:xfrm>
            <a:off x="358775" y="2600325"/>
            <a:ext cx="4033838" cy="2736850"/>
          </a:xfrm>
          <a:prstGeom prst="rect">
            <a:avLst/>
          </a:prstGeom>
        </p:spPr>
        <p:txBody>
          <a:bodyPr vert="horz" lIns="0" tIns="0" rIns="0" bIns="0" rtlCol="0">
            <a:normAutofit/>
          </a:bodyPr>
          <a:lstStyle>
            <a:lvl2pPr>
              <a:defRPr lang="de-DE" dirty="0" smtClean="0"/>
            </a:lvl2pPr>
            <a:lvl3pPr>
              <a:defRPr lang="de-DE" dirty="0" smtClean="0"/>
            </a:lvl3pPr>
          </a:lstStyle>
          <a:p>
            <a:pPr lvl="1"/>
            <a:r>
              <a:rPr lang="de-DE" dirty="0"/>
              <a:t>Zweite Ebene</a:t>
            </a:r>
          </a:p>
          <a:p>
            <a:pPr marL="630238" lvl="2"/>
            <a:r>
              <a:rPr lang="de-DE" dirty="0"/>
              <a:t>Dritte Ebene</a:t>
            </a:r>
          </a:p>
        </p:txBody>
      </p:sp>
      <p:sp>
        <p:nvSpPr>
          <p:cNvPr id="3" name="Inhaltsplatzhalter 2"/>
          <p:cNvSpPr>
            <a:spLocks noGrp="1"/>
          </p:cNvSpPr>
          <p:nvPr>
            <p:ph sz="quarter" idx="19" hasCustomPrompt="1"/>
          </p:nvPr>
        </p:nvSpPr>
        <p:spPr>
          <a:xfrm>
            <a:off x="4751388" y="2600325"/>
            <a:ext cx="4033837" cy="2736850"/>
          </a:xfrm>
          <a:prstGeom prst="rect">
            <a:avLst/>
          </a:prstGeom>
        </p:spPr>
        <p:txBody>
          <a:bodyPr vert="horz" lIns="0" tIns="0" rIns="0" bIns="0" rtlCol="0">
            <a:normAutofit/>
          </a:bodyPr>
          <a:lstStyle>
            <a:lvl2pPr>
              <a:defRPr lang="de-DE" dirty="0" smtClean="0"/>
            </a:lvl2pPr>
            <a:lvl3pPr>
              <a:defRPr lang="de-DE" dirty="0" smtClean="0"/>
            </a:lvl3pPr>
          </a:lstStyle>
          <a:p>
            <a:pPr lvl="1"/>
            <a:r>
              <a:rPr lang="de-DE" dirty="0"/>
              <a:t>Zweite Ebene</a:t>
            </a:r>
          </a:p>
          <a:p>
            <a:pPr marL="630238" lvl="2"/>
            <a:r>
              <a:rPr lang="de-DE" dirty="0"/>
              <a:t>Dritte Ebene</a:t>
            </a:r>
          </a:p>
        </p:txBody>
      </p:sp>
      <p:sp>
        <p:nvSpPr>
          <p:cNvPr id="15" name="Textplatzhalter 3"/>
          <p:cNvSpPr>
            <a:spLocks noGrp="1"/>
          </p:cNvSpPr>
          <p:nvPr>
            <p:ph type="body" sz="quarter" idx="21"/>
          </p:nvPr>
        </p:nvSpPr>
        <p:spPr>
          <a:xfrm>
            <a:off x="358775" y="2087563"/>
            <a:ext cx="8426449" cy="261610"/>
          </a:xfrm>
          <a:prstGeom prst="rect">
            <a:avLst/>
          </a:prstGeom>
        </p:spPr>
        <p:txBody>
          <a:bodyPr>
            <a:spAutoFit/>
          </a:bodyPr>
          <a:lstStyle>
            <a:lvl1pPr>
              <a:defRPr sz="1700"/>
            </a:lvl1pPr>
          </a:lstStyle>
          <a:p>
            <a:pPr lvl="0"/>
            <a:r>
              <a:rPr lang="de-DE" dirty="0"/>
              <a:t>Formatvorlagen des Textmasters bearbeiten</a:t>
            </a:r>
          </a:p>
        </p:txBody>
      </p:sp>
      <p:pic>
        <p:nvPicPr>
          <p:cNvPr id="16" name="Grafik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9808" y="5448291"/>
            <a:ext cx="396000" cy="396000"/>
          </a:xfrm>
          <a:prstGeom prst="rect">
            <a:avLst/>
          </a:prstGeom>
        </p:spPr>
      </p:pic>
      <p:sp>
        <p:nvSpPr>
          <p:cNvPr id="17" name="Textplatzhalter 4"/>
          <p:cNvSpPr>
            <a:spLocks noGrp="1"/>
          </p:cNvSpPr>
          <p:nvPr>
            <p:ph type="body" sz="quarter" idx="24"/>
          </p:nvPr>
        </p:nvSpPr>
        <p:spPr>
          <a:xfrm>
            <a:off x="914401" y="5394511"/>
            <a:ext cx="7870822" cy="622300"/>
          </a:xfrm>
        </p:spPr>
        <p:txBody>
          <a:bodyPr lIns="0" tIns="0" rIns="0" bIns="72000" anchor="ctr">
            <a:noAutofit/>
          </a:bodyPr>
          <a:lstStyle>
            <a:lvl1pPr>
              <a:defRPr lang="de-DE" b="0" dirty="0">
                <a:solidFill>
                  <a:schemeClr val="accent6"/>
                </a:solidFill>
              </a:defRPr>
            </a:lvl1pPr>
          </a:lstStyle>
          <a:p>
            <a:pPr lvl="0">
              <a:spcAft>
                <a:spcPts val="0"/>
              </a:spcAft>
            </a:pPr>
            <a:r>
              <a:rPr lang="de-DE" dirty="0"/>
              <a:t>Formatvorlagen des Textmasters bearbeiten</a:t>
            </a:r>
          </a:p>
        </p:txBody>
      </p:sp>
      <p:sp>
        <p:nvSpPr>
          <p:cNvPr id="14" name="Textplatzhalter 2"/>
          <p:cNvSpPr>
            <a:spLocks noGrp="1"/>
          </p:cNvSpPr>
          <p:nvPr>
            <p:ph type="body" sz="quarter" idx="23"/>
          </p:nvPr>
        </p:nvSpPr>
        <p:spPr>
          <a:xfrm>
            <a:off x="359808" y="6163610"/>
            <a:ext cx="8425416" cy="107722"/>
          </a:xfrm>
        </p:spPr>
        <p:txBody>
          <a:bodyPr lIns="0" tIns="0" rIns="0" bIns="0" anchor="b">
            <a:noAutofit/>
          </a:bodyPr>
          <a:lstStyle>
            <a:lvl1pPr>
              <a:defRPr kumimoji="0" lang="de-DE" sz="700" b="0" i="0" u="none" strike="noStrike" cap="none" spc="0" normalizeH="0" baseline="0" dirty="0">
                <a:ln>
                  <a:noFill/>
                </a:ln>
                <a:solidFill>
                  <a:prstClr val="white">
                    <a:lumMod val="50000"/>
                  </a:prstClr>
                </a:solidFill>
                <a:effectLst/>
                <a:uLnTx/>
                <a:uFillTx/>
                <a:latin typeface="Arial"/>
                <a:cs typeface="Arial" panose="020B0604020202020204" pitchFamily="34" charset="0"/>
              </a:defRPr>
            </a:lvl1pPr>
          </a:lstStyle>
          <a:p>
            <a:pPr marR="0" lvl="0" eaLnBrk="1" fontAlgn="auto" latinLnBrk="0" hangingPunct="1">
              <a:lnSpc>
                <a:spcPct val="100000"/>
              </a:lnSpc>
              <a:spcAft>
                <a:spcPts val="0"/>
              </a:spcAft>
              <a:buClrTx/>
              <a:buSzTx/>
              <a:buFontTx/>
              <a:buNone/>
              <a:tabLst/>
            </a:pPr>
            <a:r>
              <a:rPr lang="de-DE" dirty="0"/>
              <a:t>Formatvorlagen des Textmasters bearbeiten</a:t>
            </a:r>
          </a:p>
        </p:txBody>
      </p:sp>
      <p:sp>
        <p:nvSpPr>
          <p:cNvPr id="19" name="Textplatzhalter 15"/>
          <p:cNvSpPr>
            <a:spLocks noGrp="1"/>
          </p:cNvSpPr>
          <p:nvPr>
            <p:ph type="body" sz="quarter" idx="18"/>
          </p:nvPr>
        </p:nvSpPr>
        <p:spPr>
          <a:xfrm>
            <a:off x="3176" y="224100"/>
            <a:ext cx="6535647" cy="576000"/>
          </a:xfrm>
          <a:prstGeom prst="rect">
            <a:avLst/>
          </a:prstGeom>
        </p:spPr>
        <p:txBody>
          <a:bodyPr vert="horz" lIns="360000" tIns="0" rIns="0" bIns="0" rtlCol="0" anchor="ctr"/>
          <a:lstStyle>
            <a:lvl1pPr>
              <a:defRPr lang="de-DE" sz="1000" b="0" smtClean="0">
                <a:solidFill>
                  <a:srgbClr val="000000"/>
                </a:solidFill>
                <a:latin typeface="Arial" panose="020B0604020202020204" pitchFamily="34" charset="0"/>
                <a:cs typeface="Arial" panose="020B0604020202020204" pitchFamily="34" charset="0"/>
              </a:defRPr>
            </a:lvl1pPr>
            <a:lvl2pPr>
              <a:defRPr lang="de-DE" smtClean="0">
                <a:latin typeface="Arial" panose="020B0604020202020204" pitchFamily="34" charset="0"/>
                <a:cs typeface="Arial" panose="020B0604020202020204" pitchFamily="34" charset="0"/>
              </a:defRPr>
            </a:lvl2pPr>
            <a:lvl3pPr>
              <a:defRPr lang="de-DE" smtClean="0">
                <a:latin typeface="Arial" panose="020B0604020202020204" pitchFamily="34" charset="0"/>
                <a:cs typeface="Arial" panose="020B0604020202020204" pitchFamily="34" charset="0"/>
              </a:defRPr>
            </a:lvl3pPr>
            <a:lvl4pPr>
              <a:defRPr lang="de-DE" smtClean="0">
                <a:latin typeface="Arial" panose="020B0604020202020204" pitchFamily="34" charset="0"/>
                <a:cs typeface="Arial" panose="020B0604020202020204" pitchFamily="34" charset="0"/>
              </a:defRPr>
            </a:lvl4pPr>
            <a:lvl5pPr>
              <a:defRPr lang="de-DE">
                <a:latin typeface="Arial" panose="020B0604020202020204" pitchFamily="34" charset="0"/>
                <a:cs typeface="Arial" panose="020B0604020202020204" pitchFamily="34" charset="0"/>
              </a:defRPr>
            </a:lvl5pPr>
          </a:lstStyle>
          <a:p>
            <a:pPr lvl="0">
              <a:spcBef>
                <a:spcPct val="0"/>
              </a:spcBef>
              <a:spcAft>
                <a:spcPct val="0"/>
              </a:spcAft>
            </a:pPr>
            <a:endParaRPr lang="de-DE" dirty="0"/>
          </a:p>
        </p:txBody>
      </p:sp>
      <p:sp>
        <p:nvSpPr>
          <p:cNvPr id="4" name="Datumsplatzhalter 3"/>
          <p:cNvSpPr>
            <a:spLocks noGrp="1"/>
          </p:cNvSpPr>
          <p:nvPr>
            <p:ph type="dt" sz="half" idx="25"/>
          </p:nvPr>
        </p:nvSpPr>
        <p:spPr/>
        <p:txBody>
          <a:bodyPr/>
          <a:lstStyle/>
          <a:p>
            <a:r>
              <a:rPr lang="de-DE"/>
              <a:t>01.01.2020</a:t>
            </a:r>
            <a:endParaRPr lang="de-DE" dirty="0"/>
          </a:p>
        </p:txBody>
      </p:sp>
      <p:sp>
        <p:nvSpPr>
          <p:cNvPr id="5" name="Fußzeilenplatzhalter 4"/>
          <p:cNvSpPr>
            <a:spLocks noGrp="1"/>
          </p:cNvSpPr>
          <p:nvPr>
            <p:ph type="ftr" sz="quarter" idx="26"/>
          </p:nvPr>
        </p:nvSpPr>
        <p:spPr/>
        <p:txBody>
          <a:bodyPr/>
          <a:lstStyle/>
          <a:p>
            <a:r>
              <a:rPr lang="de-DE"/>
              <a:t>Präsentation für Arbeitnehmer</a:t>
            </a:r>
            <a:endParaRPr lang="de-DE" dirty="0"/>
          </a:p>
        </p:txBody>
      </p:sp>
      <p:sp>
        <p:nvSpPr>
          <p:cNvPr id="6" name="Foliennummernplatzhalter 5"/>
          <p:cNvSpPr>
            <a:spLocks noGrp="1"/>
          </p:cNvSpPr>
          <p:nvPr>
            <p:ph type="sldNum" sz="quarter" idx="27"/>
          </p:nvPr>
        </p:nvSpPr>
        <p:spPr/>
        <p:txBody>
          <a:bodyPr/>
          <a:lstStyle/>
          <a:p>
            <a:fld id="{BFE8ADF1-837C-463F-9856-54C2D771B21B}" type="slidenum">
              <a:rPr lang="de-DE" smtClean="0"/>
              <a:pPr/>
              <a:t>‹Nr.›</a:t>
            </a:fld>
            <a:endParaRPr lang="de-DE" dirty="0"/>
          </a:p>
        </p:txBody>
      </p:sp>
    </p:spTree>
    <p:extLst>
      <p:ext uri="{BB962C8B-B14F-4D97-AF65-F5344CB8AC3E}">
        <p14:creationId xmlns:p14="http://schemas.microsoft.com/office/powerpoint/2010/main" val="203063629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el, Text &amp; Fazit">
    <p:spTree>
      <p:nvGrpSpPr>
        <p:cNvPr id="1" name=""/>
        <p:cNvGrpSpPr/>
        <p:nvPr/>
      </p:nvGrpSpPr>
      <p:grpSpPr>
        <a:xfrm>
          <a:off x="0" y="0"/>
          <a:ext cx="0" cy="0"/>
          <a:chOff x="0" y="0"/>
          <a:chExt cx="0" cy="0"/>
        </a:xfrm>
      </p:grpSpPr>
      <p:sp>
        <p:nvSpPr>
          <p:cNvPr id="11" name="Titel 10"/>
          <p:cNvSpPr>
            <a:spLocks noGrp="1"/>
          </p:cNvSpPr>
          <p:nvPr>
            <p:ph type="title"/>
          </p:nvPr>
        </p:nvSpPr>
        <p:spPr/>
        <p:txBody>
          <a:bodyPr/>
          <a:lstStyle/>
          <a:p>
            <a:r>
              <a:rPr lang="de-DE"/>
              <a:t>Titelmasterformat durch Klicken bearbeiten</a:t>
            </a:r>
          </a:p>
        </p:txBody>
      </p:sp>
      <p:sp>
        <p:nvSpPr>
          <p:cNvPr id="13" name="Textplatzhalter 12"/>
          <p:cNvSpPr>
            <a:spLocks noGrp="1"/>
          </p:cNvSpPr>
          <p:nvPr>
            <p:ph type="body" sz="quarter" idx="17"/>
          </p:nvPr>
        </p:nvSpPr>
        <p:spPr>
          <a:xfrm>
            <a:off x="358775" y="2087563"/>
            <a:ext cx="4033838" cy="512762"/>
          </a:xfrm>
          <a:prstGeom prst="rect">
            <a:avLst/>
          </a:prstGeom>
        </p:spPr>
        <p:txBody>
          <a:bodyPr/>
          <a:lstStyle>
            <a:lvl1pPr>
              <a:defRPr sz="1700"/>
            </a:lvl1pPr>
            <a:lvl2pPr>
              <a:defRPr sz="1700"/>
            </a:lvl2pPr>
            <a:lvl3pPr marL="630238" indent="-269875">
              <a:buSzPct val="80000"/>
              <a:buFontTx/>
              <a:buBlip>
                <a:blip r:embed="rId2"/>
              </a:buBlip>
              <a:defRPr sz="1700"/>
            </a:lvl3pPr>
          </a:lstStyle>
          <a:p>
            <a:pPr lvl="0"/>
            <a:r>
              <a:rPr lang="de-DE" dirty="0"/>
              <a:t>Formatvorlagen des Textmasters bearbeiten</a:t>
            </a:r>
          </a:p>
        </p:txBody>
      </p:sp>
      <p:sp>
        <p:nvSpPr>
          <p:cNvPr id="14" name="Textplatzhalter 12"/>
          <p:cNvSpPr>
            <a:spLocks noGrp="1"/>
          </p:cNvSpPr>
          <p:nvPr>
            <p:ph type="body" sz="quarter" idx="20"/>
          </p:nvPr>
        </p:nvSpPr>
        <p:spPr>
          <a:xfrm>
            <a:off x="4751387" y="2087563"/>
            <a:ext cx="4033838" cy="512762"/>
          </a:xfrm>
          <a:prstGeom prst="rect">
            <a:avLst/>
          </a:prstGeom>
        </p:spPr>
        <p:txBody>
          <a:bodyPr/>
          <a:lstStyle>
            <a:lvl1pPr>
              <a:defRPr sz="1700"/>
            </a:lvl1pPr>
            <a:lvl2pPr>
              <a:defRPr sz="1700"/>
            </a:lvl2pPr>
            <a:lvl3pPr marL="630238" indent="-269875">
              <a:buSzPct val="80000"/>
              <a:buFontTx/>
              <a:buBlip>
                <a:blip r:embed="rId2"/>
              </a:buBlip>
              <a:defRPr sz="1700"/>
            </a:lvl3pPr>
          </a:lstStyle>
          <a:p>
            <a:pPr lvl="0"/>
            <a:r>
              <a:rPr lang="de-DE" dirty="0"/>
              <a:t>Formatvorlagen des Textmasters bearbeiten</a:t>
            </a:r>
          </a:p>
        </p:txBody>
      </p:sp>
      <p:sp>
        <p:nvSpPr>
          <p:cNvPr id="15" name="Textplatzhalter 12"/>
          <p:cNvSpPr>
            <a:spLocks noGrp="1"/>
          </p:cNvSpPr>
          <p:nvPr>
            <p:ph type="body" sz="quarter" idx="21" hasCustomPrompt="1"/>
          </p:nvPr>
        </p:nvSpPr>
        <p:spPr>
          <a:xfrm>
            <a:off x="358775" y="2600325"/>
            <a:ext cx="4033838" cy="2736850"/>
          </a:xfrm>
          <a:prstGeom prst="rect">
            <a:avLst/>
          </a:prstGeom>
        </p:spPr>
        <p:txBody>
          <a:bodyPr vert="horz" lIns="0" tIns="0" rIns="0" bIns="0" rtlCol="0">
            <a:normAutofit/>
          </a:bodyPr>
          <a:lstStyle>
            <a:lvl2pPr>
              <a:defRPr lang="de-DE" dirty="0" smtClean="0"/>
            </a:lvl2pPr>
            <a:lvl3pPr>
              <a:defRPr lang="de-DE" dirty="0" smtClean="0"/>
            </a:lvl3pPr>
          </a:lstStyle>
          <a:p>
            <a:pPr lvl="1"/>
            <a:r>
              <a:rPr lang="de-DE" dirty="0"/>
              <a:t>Zweite Ebene</a:t>
            </a:r>
          </a:p>
          <a:p>
            <a:pPr marL="630238" lvl="2"/>
            <a:r>
              <a:rPr lang="de-DE" dirty="0"/>
              <a:t>Dritte Ebene</a:t>
            </a:r>
          </a:p>
        </p:txBody>
      </p:sp>
      <p:sp>
        <p:nvSpPr>
          <p:cNvPr id="16" name="Textplatzhalter 12"/>
          <p:cNvSpPr>
            <a:spLocks noGrp="1"/>
          </p:cNvSpPr>
          <p:nvPr>
            <p:ph type="body" sz="quarter" idx="22" hasCustomPrompt="1"/>
          </p:nvPr>
        </p:nvSpPr>
        <p:spPr>
          <a:xfrm>
            <a:off x="4751387" y="2600325"/>
            <a:ext cx="4033838" cy="2736850"/>
          </a:xfrm>
          <a:prstGeom prst="rect">
            <a:avLst/>
          </a:prstGeom>
        </p:spPr>
        <p:txBody>
          <a:bodyPr vert="horz" lIns="0" tIns="0" rIns="0" bIns="0" rtlCol="0">
            <a:normAutofit/>
          </a:bodyPr>
          <a:lstStyle>
            <a:lvl2pPr>
              <a:defRPr lang="de-DE" dirty="0" smtClean="0"/>
            </a:lvl2pPr>
            <a:lvl3pPr>
              <a:defRPr lang="de-DE" dirty="0" smtClean="0"/>
            </a:lvl3pPr>
          </a:lstStyle>
          <a:p>
            <a:pPr lvl="1"/>
            <a:r>
              <a:rPr lang="de-DE" dirty="0"/>
              <a:t>Zweite Ebene</a:t>
            </a:r>
          </a:p>
          <a:p>
            <a:pPr marL="630238" lvl="2"/>
            <a:r>
              <a:rPr lang="de-DE" dirty="0"/>
              <a:t>Dritte Ebene</a:t>
            </a:r>
          </a:p>
        </p:txBody>
      </p:sp>
      <p:pic>
        <p:nvPicPr>
          <p:cNvPr id="18" name="Grafik 1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59808" y="5448291"/>
            <a:ext cx="396000" cy="396000"/>
          </a:xfrm>
          <a:prstGeom prst="rect">
            <a:avLst/>
          </a:prstGeom>
        </p:spPr>
      </p:pic>
      <p:sp>
        <p:nvSpPr>
          <p:cNvPr id="19" name="Textplatzhalter 4"/>
          <p:cNvSpPr>
            <a:spLocks noGrp="1"/>
          </p:cNvSpPr>
          <p:nvPr>
            <p:ph type="body" sz="quarter" idx="24"/>
          </p:nvPr>
        </p:nvSpPr>
        <p:spPr>
          <a:xfrm>
            <a:off x="914401" y="5394511"/>
            <a:ext cx="7870822" cy="622300"/>
          </a:xfrm>
        </p:spPr>
        <p:txBody>
          <a:bodyPr lIns="0" tIns="0" rIns="0" bIns="72000" anchor="ctr">
            <a:noAutofit/>
          </a:bodyPr>
          <a:lstStyle>
            <a:lvl1pPr>
              <a:defRPr lang="de-DE" b="0" dirty="0">
                <a:solidFill>
                  <a:schemeClr val="accent6"/>
                </a:solidFill>
              </a:defRPr>
            </a:lvl1pPr>
          </a:lstStyle>
          <a:p>
            <a:pPr lvl="0">
              <a:spcAft>
                <a:spcPts val="0"/>
              </a:spcAft>
            </a:pPr>
            <a:r>
              <a:rPr lang="de-DE" dirty="0"/>
              <a:t>Formatvorlagen des Textmasters bearbeiten</a:t>
            </a:r>
          </a:p>
        </p:txBody>
      </p:sp>
      <p:sp>
        <p:nvSpPr>
          <p:cNvPr id="20" name="Textplatzhalter 2"/>
          <p:cNvSpPr>
            <a:spLocks noGrp="1"/>
          </p:cNvSpPr>
          <p:nvPr>
            <p:ph type="body" sz="quarter" idx="23"/>
          </p:nvPr>
        </p:nvSpPr>
        <p:spPr>
          <a:xfrm>
            <a:off x="359808" y="6163610"/>
            <a:ext cx="8425416" cy="107722"/>
          </a:xfrm>
        </p:spPr>
        <p:txBody>
          <a:bodyPr lIns="0" tIns="0" rIns="0" bIns="0" anchor="b">
            <a:noAutofit/>
          </a:bodyPr>
          <a:lstStyle>
            <a:lvl1pPr>
              <a:defRPr kumimoji="0" lang="de-DE" sz="700" b="0" i="0" u="none" strike="noStrike" cap="none" spc="0" normalizeH="0" baseline="0" dirty="0">
                <a:ln>
                  <a:noFill/>
                </a:ln>
                <a:solidFill>
                  <a:prstClr val="white">
                    <a:lumMod val="50000"/>
                  </a:prstClr>
                </a:solidFill>
                <a:effectLst/>
                <a:uLnTx/>
                <a:uFillTx/>
                <a:latin typeface="Arial"/>
                <a:cs typeface="Arial" panose="020B0604020202020204" pitchFamily="34" charset="0"/>
              </a:defRPr>
            </a:lvl1pPr>
          </a:lstStyle>
          <a:p>
            <a:pPr marR="0" lvl="0" eaLnBrk="1" fontAlgn="auto" latinLnBrk="0" hangingPunct="1">
              <a:lnSpc>
                <a:spcPct val="100000"/>
              </a:lnSpc>
              <a:spcAft>
                <a:spcPts val="0"/>
              </a:spcAft>
              <a:buClrTx/>
              <a:buSzTx/>
              <a:buFontTx/>
              <a:buNone/>
              <a:tabLst/>
            </a:pPr>
            <a:r>
              <a:rPr lang="de-DE" dirty="0"/>
              <a:t>Formatvorlagen des Textmasters bearbeiten</a:t>
            </a:r>
          </a:p>
        </p:txBody>
      </p:sp>
      <p:sp>
        <p:nvSpPr>
          <p:cNvPr id="12" name="Textplatzhalter 15"/>
          <p:cNvSpPr>
            <a:spLocks noGrp="1"/>
          </p:cNvSpPr>
          <p:nvPr>
            <p:ph type="body" sz="quarter" idx="18"/>
          </p:nvPr>
        </p:nvSpPr>
        <p:spPr>
          <a:xfrm>
            <a:off x="3176" y="224100"/>
            <a:ext cx="6535647" cy="576000"/>
          </a:xfrm>
          <a:prstGeom prst="rect">
            <a:avLst/>
          </a:prstGeom>
        </p:spPr>
        <p:txBody>
          <a:bodyPr vert="horz" lIns="360000" tIns="0" rIns="0" bIns="0" rtlCol="0" anchor="ctr"/>
          <a:lstStyle>
            <a:lvl1pPr>
              <a:defRPr lang="de-DE" sz="1000" b="0" smtClean="0">
                <a:solidFill>
                  <a:srgbClr val="000000"/>
                </a:solidFill>
                <a:latin typeface="Arial" panose="020B0604020202020204" pitchFamily="34" charset="0"/>
                <a:cs typeface="Arial" panose="020B0604020202020204" pitchFamily="34" charset="0"/>
              </a:defRPr>
            </a:lvl1pPr>
            <a:lvl2pPr>
              <a:defRPr lang="de-DE" smtClean="0">
                <a:latin typeface="Arial" panose="020B0604020202020204" pitchFamily="34" charset="0"/>
                <a:cs typeface="Arial" panose="020B0604020202020204" pitchFamily="34" charset="0"/>
              </a:defRPr>
            </a:lvl2pPr>
            <a:lvl3pPr>
              <a:defRPr lang="de-DE" smtClean="0">
                <a:latin typeface="Arial" panose="020B0604020202020204" pitchFamily="34" charset="0"/>
                <a:cs typeface="Arial" panose="020B0604020202020204" pitchFamily="34" charset="0"/>
              </a:defRPr>
            </a:lvl3pPr>
            <a:lvl4pPr>
              <a:defRPr lang="de-DE" smtClean="0">
                <a:latin typeface="Arial" panose="020B0604020202020204" pitchFamily="34" charset="0"/>
                <a:cs typeface="Arial" panose="020B0604020202020204" pitchFamily="34" charset="0"/>
              </a:defRPr>
            </a:lvl4pPr>
            <a:lvl5pPr>
              <a:defRPr lang="de-DE">
                <a:latin typeface="Arial" panose="020B0604020202020204" pitchFamily="34" charset="0"/>
                <a:cs typeface="Arial" panose="020B0604020202020204" pitchFamily="34" charset="0"/>
              </a:defRPr>
            </a:lvl5pPr>
          </a:lstStyle>
          <a:p>
            <a:pPr lvl="0">
              <a:spcBef>
                <a:spcPct val="0"/>
              </a:spcBef>
              <a:spcAft>
                <a:spcPct val="0"/>
              </a:spcAft>
            </a:pPr>
            <a:endParaRPr lang="de-DE" dirty="0"/>
          </a:p>
        </p:txBody>
      </p:sp>
      <p:sp>
        <p:nvSpPr>
          <p:cNvPr id="3" name="Datumsplatzhalter 2"/>
          <p:cNvSpPr>
            <a:spLocks noGrp="1"/>
          </p:cNvSpPr>
          <p:nvPr>
            <p:ph type="dt" sz="half" idx="25"/>
          </p:nvPr>
        </p:nvSpPr>
        <p:spPr/>
        <p:txBody>
          <a:bodyPr/>
          <a:lstStyle/>
          <a:p>
            <a:r>
              <a:rPr lang="de-DE"/>
              <a:t>01.01.2020</a:t>
            </a:r>
            <a:endParaRPr lang="de-DE" dirty="0"/>
          </a:p>
        </p:txBody>
      </p:sp>
      <p:sp>
        <p:nvSpPr>
          <p:cNvPr id="4" name="Fußzeilenplatzhalter 3"/>
          <p:cNvSpPr>
            <a:spLocks noGrp="1"/>
          </p:cNvSpPr>
          <p:nvPr>
            <p:ph type="ftr" sz="quarter" idx="26"/>
          </p:nvPr>
        </p:nvSpPr>
        <p:spPr/>
        <p:txBody>
          <a:bodyPr/>
          <a:lstStyle/>
          <a:p>
            <a:r>
              <a:rPr lang="de-DE"/>
              <a:t>Präsentation für Arbeitnehmer</a:t>
            </a:r>
            <a:endParaRPr lang="de-DE" dirty="0"/>
          </a:p>
        </p:txBody>
      </p:sp>
      <p:sp>
        <p:nvSpPr>
          <p:cNvPr id="5" name="Foliennummernplatzhalter 4"/>
          <p:cNvSpPr>
            <a:spLocks noGrp="1"/>
          </p:cNvSpPr>
          <p:nvPr>
            <p:ph type="sldNum" sz="quarter" idx="27"/>
          </p:nvPr>
        </p:nvSpPr>
        <p:spPr/>
        <p:txBody>
          <a:bodyPr/>
          <a:lstStyle/>
          <a:p>
            <a:fld id="{BFE8ADF1-837C-463F-9856-54C2D771B21B}" type="slidenum">
              <a:rPr lang="de-DE" smtClean="0"/>
              <a:pPr/>
              <a:t>‹Nr.›</a:t>
            </a:fld>
            <a:endParaRPr lang="de-DE" dirty="0"/>
          </a:p>
        </p:txBody>
      </p:sp>
    </p:spTree>
    <p:extLst>
      <p:ext uri="{BB962C8B-B14F-4D97-AF65-F5344CB8AC3E}">
        <p14:creationId xmlns:p14="http://schemas.microsoft.com/office/powerpoint/2010/main" val="300594523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Zusammenfassung">
    <p:spTree>
      <p:nvGrpSpPr>
        <p:cNvPr id="1" name=""/>
        <p:cNvGrpSpPr/>
        <p:nvPr/>
      </p:nvGrpSpPr>
      <p:grpSpPr>
        <a:xfrm>
          <a:off x="0" y="0"/>
          <a:ext cx="0" cy="0"/>
          <a:chOff x="0" y="0"/>
          <a:chExt cx="0" cy="0"/>
        </a:xfrm>
      </p:grpSpPr>
      <p:sp>
        <p:nvSpPr>
          <p:cNvPr id="11" name="Titel 10"/>
          <p:cNvSpPr>
            <a:spLocks noGrp="1"/>
          </p:cNvSpPr>
          <p:nvPr>
            <p:ph type="title"/>
          </p:nvPr>
        </p:nvSpPr>
        <p:spPr/>
        <p:txBody>
          <a:bodyPr/>
          <a:lstStyle/>
          <a:p>
            <a:r>
              <a:rPr lang="de-DE" dirty="0"/>
              <a:t>Titelmasterformat durch Klicken bearbeiten</a:t>
            </a:r>
          </a:p>
        </p:txBody>
      </p:sp>
      <p:sp>
        <p:nvSpPr>
          <p:cNvPr id="13" name="Textplatzhalter 12"/>
          <p:cNvSpPr>
            <a:spLocks noGrp="1"/>
          </p:cNvSpPr>
          <p:nvPr>
            <p:ph type="body" sz="quarter" idx="17"/>
          </p:nvPr>
        </p:nvSpPr>
        <p:spPr>
          <a:xfrm>
            <a:off x="358775" y="2087563"/>
            <a:ext cx="8426450" cy="4113212"/>
          </a:xfrm>
          <a:prstGeom prst="rect">
            <a:avLst/>
          </a:prstGeom>
        </p:spPr>
        <p:txBody>
          <a:bodyPr/>
          <a:lstStyle>
            <a:lvl1pPr marL="285750" indent="-285750">
              <a:spcBef>
                <a:spcPts val="1200"/>
              </a:spcBef>
              <a:spcAft>
                <a:spcPts val="1200"/>
              </a:spcAft>
              <a:buClr>
                <a:schemeClr val="tx2"/>
              </a:buClr>
              <a:buSzPct val="100000"/>
              <a:buFont typeface="Arial" panose="020B0604020202020204" pitchFamily="34" charset="0"/>
              <a:buChar char="●"/>
              <a:defRPr sz="1700" b="0"/>
            </a:lvl1pPr>
            <a:lvl2pPr marL="625475" indent="-269875">
              <a:defRPr sz="1700"/>
            </a:lvl2pPr>
            <a:lvl3pPr marL="985838" indent="-269875">
              <a:buSzPct val="80000"/>
              <a:buFontTx/>
              <a:buBlip>
                <a:blip r:embed="rId2"/>
              </a:buBlip>
              <a:defRPr sz="1700"/>
            </a:lvl3pPr>
          </a:lstStyle>
          <a:p>
            <a:pPr lvl="0"/>
            <a:r>
              <a:rPr lang="de-DE" dirty="0"/>
              <a:t>Formatvorlagen des Textmasters bearbeiten</a:t>
            </a:r>
          </a:p>
        </p:txBody>
      </p:sp>
      <p:sp>
        <p:nvSpPr>
          <p:cNvPr id="16" name="Textplatzhalter 15"/>
          <p:cNvSpPr>
            <a:spLocks noGrp="1"/>
          </p:cNvSpPr>
          <p:nvPr>
            <p:ph type="body" sz="quarter" idx="18"/>
          </p:nvPr>
        </p:nvSpPr>
        <p:spPr>
          <a:xfrm>
            <a:off x="3176" y="224100"/>
            <a:ext cx="6535647" cy="576000"/>
          </a:xfrm>
          <a:prstGeom prst="rect">
            <a:avLst/>
          </a:prstGeom>
        </p:spPr>
        <p:txBody>
          <a:bodyPr vert="horz" lIns="360000" tIns="0" rIns="0" bIns="0" rtlCol="0" anchor="ctr"/>
          <a:lstStyle>
            <a:lvl1pPr>
              <a:defRPr lang="de-DE" sz="1000" b="0" smtClean="0">
                <a:solidFill>
                  <a:srgbClr val="000000"/>
                </a:solidFill>
                <a:latin typeface="Arial" panose="020B0604020202020204" pitchFamily="34" charset="0"/>
                <a:cs typeface="Arial" panose="020B0604020202020204" pitchFamily="34" charset="0"/>
              </a:defRPr>
            </a:lvl1pPr>
            <a:lvl2pPr>
              <a:defRPr lang="de-DE" smtClean="0">
                <a:latin typeface="Arial" panose="020B0604020202020204" pitchFamily="34" charset="0"/>
                <a:cs typeface="Arial" panose="020B0604020202020204" pitchFamily="34" charset="0"/>
              </a:defRPr>
            </a:lvl2pPr>
            <a:lvl3pPr>
              <a:defRPr lang="de-DE" smtClean="0">
                <a:latin typeface="Arial" panose="020B0604020202020204" pitchFamily="34" charset="0"/>
                <a:cs typeface="Arial" panose="020B0604020202020204" pitchFamily="34" charset="0"/>
              </a:defRPr>
            </a:lvl3pPr>
            <a:lvl4pPr>
              <a:defRPr lang="de-DE" smtClean="0">
                <a:latin typeface="Arial" panose="020B0604020202020204" pitchFamily="34" charset="0"/>
                <a:cs typeface="Arial" panose="020B0604020202020204" pitchFamily="34" charset="0"/>
              </a:defRPr>
            </a:lvl4pPr>
            <a:lvl5pPr>
              <a:defRPr lang="de-DE">
                <a:latin typeface="Arial" panose="020B0604020202020204" pitchFamily="34" charset="0"/>
                <a:cs typeface="Arial" panose="020B0604020202020204" pitchFamily="34" charset="0"/>
              </a:defRPr>
            </a:lvl5pPr>
          </a:lstStyle>
          <a:p>
            <a:pPr lvl="0">
              <a:spcBef>
                <a:spcPct val="0"/>
              </a:spcBef>
              <a:spcAft>
                <a:spcPct val="0"/>
              </a:spcAft>
            </a:pPr>
            <a:endParaRPr lang="de-DE" dirty="0"/>
          </a:p>
        </p:txBody>
      </p:sp>
      <p:sp>
        <p:nvSpPr>
          <p:cNvPr id="3" name="Datumsplatzhalter 2"/>
          <p:cNvSpPr>
            <a:spLocks noGrp="1"/>
          </p:cNvSpPr>
          <p:nvPr>
            <p:ph type="dt" sz="half" idx="19"/>
          </p:nvPr>
        </p:nvSpPr>
        <p:spPr/>
        <p:txBody>
          <a:bodyPr/>
          <a:lstStyle/>
          <a:p>
            <a:r>
              <a:rPr lang="de-DE"/>
              <a:t>01.01.2020</a:t>
            </a:r>
            <a:endParaRPr lang="de-DE" dirty="0"/>
          </a:p>
        </p:txBody>
      </p:sp>
      <p:sp>
        <p:nvSpPr>
          <p:cNvPr id="4" name="Fußzeilenplatzhalter 3"/>
          <p:cNvSpPr>
            <a:spLocks noGrp="1"/>
          </p:cNvSpPr>
          <p:nvPr>
            <p:ph type="ftr" sz="quarter" idx="20"/>
          </p:nvPr>
        </p:nvSpPr>
        <p:spPr/>
        <p:txBody>
          <a:bodyPr/>
          <a:lstStyle/>
          <a:p>
            <a:r>
              <a:rPr lang="de-DE"/>
              <a:t>Präsentation für Arbeitnehmer</a:t>
            </a:r>
            <a:endParaRPr lang="de-DE" dirty="0"/>
          </a:p>
        </p:txBody>
      </p:sp>
      <p:sp>
        <p:nvSpPr>
          <p:cNvPr id="5" name="Foliennummernplatzhalter 4"/>
          <p:cNvSpPr>
            <a:spLocks noGrp="1"/>
          </p:cNvSpPr>
          <p:nvPr>
            <p:ph type="sldNum" sz="quarter" idx="21"/>
          </p:nvPr>
        </p:nvSpPr>
        <p:spPr/>
        <p:txBody>
          <a:bodyPr/>
          <a:lstStyle/>
          <a:p>
            <a:fld id="{BFE8ADF1-837C-463F-9856-54C2D771B21B}" type="slidenum">
              <a:rPr lang="de-DE" smtClean="0"/>
              <a:pPr/>
              <a:t>‹Nr.›</a:t>
            </a:fld>
            <a:endParaRPr lang="de-DE" dirty="0"/>
          </a:p>
        </p:txBody>
      </p:sp>
    </p:spTree>
    <p:extLst>
      <p:ext uri="{BB962C8B-B14F-4D97-AF65-F5344CB8AC3E}">
        <p14:creationId xmlns:p14="http://schemas.microsoft.com/office/powerpoint/2010/main" val="353585782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Leer, grauer Hintergrund">
    <p:spTree>
      <p:nvGrpSpPr>
        <p:cNvPr id="1" name=""/>
        <p:cNvGrpSpPr/>
        <p:nvPr/>
      </p:nvGrpSpPr>
      <p:grpSpPr>
        <a:xfrm>
          <a:off x="0" y="0"/>
          <a:ext cx="0" cy="0"/>
          <a:chOff x="0" y="0"/>
          <a:chExt cx="0" cy="0"/>
        </a:xfrm>
      </p:grpSpPr>
      <p:sp>
        <p:nvSpPr>
          <p:cNvPr id="4" name="Rechteck 3"/>
          <p:cNvSpPr/>
          <p:nvPr userDrawn="1"/>
        </p:nvSpPr>
        <p:spPr>
          <a:xfrm>
            <a:off x="0" y="0"/>
            <a:ext cx="9144000" cy="6858000"/>
          </a:xfrm>
          <a:prstGeom prst="rect">
            <a:avLst/>
          </a:prstGeom>
          <a:solidFill>
            <a:srgbClr val="F0F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p:cNvSpPr/>
          <p:nvPr userDrawn="1"/>
        </p:nvSpPr>
        <p:spPr>
          <a:xfrm>
            <a:off x="0" y="0"/>
            <a:ext cx="9144000" cy="80070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Rechteck 5"/>
          <p:cNvSpPr/>
          <p:nvPr userDrawn="1"/>
        </p:nvSpPr>
        <p:spPr>
          <a:xfrm>
            <a:off x="6770566" y="185466"/>
            <a:ext cx="2014659" cy="427206"/>
          </a:xfrm>
          <a:prstGeom prst="rect">
            <a:avLst/>
          </a:prstGeom>
          <a:solidFill>
            <a:srgbClr val="C3C3C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r>
              <a:rPr lang="de-DE" sz="1050" b="1" dirty="0"/>
              <a:t>Platz für Logo Vermittler</a:t>
            </a:r>
          </a:p>
        </p:txBody>
      </p:sp>
    </p:spTree>
    <p:extLst>
      <p:ext uri="{BB962C8B-B14F-4D97-AF65-F5344CB8AC3E}">
        <p14:creationId xmlns:p14="http://schemas.microsoft.com/office/powerpoint/2010/main" val="10079971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03 (Vermittler: nur Text)">
    <p:spTree>
      <p:nvGrpSpPr>
        <p:cNvPr id="1" name=""/>
        <p:cNvGrpSpPr/>
        <p:nvPr/>
      </p:nvGrpSpPr>
      <p:grpSpPr>
        <a:xfrm>
          <a:off x="0" y="0"/>
          <a:ext cx="0" cy="0"/>
          <a:chOff x="0" y="0"/>
          <a:chExt cx="0" cy="0"/>
        </a:xfrm>
      </p:grpSpPr>
      <p:sp>
        <p:nvSpPr>
          <p:cNvPr id="15" name="Rechteck 14"/>
          <p:cNvSpPr/>
          <p:nvPr userDrawn="1"/>
        </p:nvSpPr>
        <p:spPr>
          <a:xfrm>
            <a:off x="0" y="800708"/>
            <a:ext cx="9144000" cy="6057292"/>
          </a:xfrm>
          <a:prstGeom prst="rect">
            <a:avLst/>
          </a:prstGeom>
          <a:solidFill>
            <a:srgbClr val="F0F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5" name="Objekt 10"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2472" name="think-cell Folie" r:id="rId4" imgW="216" imgH="216" progId="TCLayout.ActiveDocument.1">
                  <p:embed/>
                </p:oleObj>
              </mc:Choice>
              <mc:Fallback>
                <p:oleObj name="think-cell Folie" r:id="rId4" imgW="216" imgH="216" progId="TCLayout.ActiveDocument.1">
                  <p:embed/>
                  <p:pic>
                    <p:nvPicPr>
                      <p:cNvPr id="5" name="Objekt 1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17" name="Grafik 16"/>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712337" y="185466"/>
            <a:ext cx="2016000" cy="427206"/>
          </a:xfrm>
          <a:prstGeom prst="rect">
            <a:avLst/>
          </a:prstGeom>
        </p:spPr>
      </p:pic>
      <p:sp>
        <p:nvSpPr>
          <p:cNvPr id="27" name="Abgerundetes Rechteck 18"/>
          <p:cNvSpPr/>
          <p:nvPr userDrawn="1"/>
        </p:nvSpPr>
        <p:spPr>
          <a:xfrm>
            <a:off x="802382" y="2086421"/>
            <a:ext cx="7112770" cy="2193843"/>
          </a:xfrm>
          <a:custGeom>
            <a:avLst/>
            <a:gdLst>
              <a:gd name="connsiteX0" fmla="*/ 0 w 7110000"/>
              <a:gd name="connsiteY0" fmla="*/ 124469 h 2196000"/>
              <a:gd name="connsiteX1" fmla="*/ 124469 w 7110000"/>
              <a:gd name="connsiteY1" fmla="*/ 0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124469 w 7110000"/>
              <a:gd name="connsiteY6" fmla="*/ 2196000 h 2196000"/>
              <a:gd name="connsiteX7" fmla="*/ 0 w 7110000"/>
              <a:gd name="connsiteY7" fmla="*/ 2071531 h 2196000"/>
              <a:gd name="connsiteX8" fmla="*/ 0 w 7110000"/>
              <a:gd name="connsiteY8" fmla="*/ 124469 h 2196000"/>
              <a:gd name="connsiteX0" fmla="*/ 0 w 7110000"/>
              <a:gd name="connsiteY0" fmla="*/ 124469 h 2196000"/>
              <a:gd name="connsiteX1" fmla="*/ 124469 w 7110000"/>
              <a:gd name="connsiteY1" fmla="*/ 0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124469 w 7110000"/>
              <a:gd name="connsiteY6" fmla="*/ 2196000 h 2196000"/>
              <a:gd name="connsiteX7" fmla="*/ 0 w 7110000"/>
              <a:gd name="connsiteY7" fmla="*/ 2071531 h 2196000"/>
              <a:gd name="connsiteX8" fmla="*/ 0 w 7110000"/>
              <a:gd name="connsiteY8" fmla="*/ 124469 h 2196000"/>
              <a:gd name="connsiteX0" fmla="*/ 27698 w 7137698"/>
              <a:gd name="connsiteY0" fmla="*/ 192979 h 2264510"/>
              <a:gd name="connsiteX1" fmla="*/ 31397 w 7137698"/>
              <a:gd name="connsiteY1" fmla="*/ 70666 h 2264510"/>
              <a:gd name="connsiteX2" fmla="*/ 7013229 w 7137698"/>
              <a:gd name="connsiteY2" fmla="*/ 68510 h 2264510"/>
              <a:gd name="connsiteX3" fmla="*/ 7137698 w 7137698"/>
              <a:gd name="connsiteY3" fmla="*/ 192979 h 2264510"/>
              <a:gd name="connsiteX4" fmla="*/ 7137698 w 7137698"/>
              <a:gd name="connsiteY4" fmla="*/ 2140041 h 2264510"/>
              <a:gd name="connsiteX5" fmla="*/ 7013229 w 7137698"/>
              <a:gd name="connsiteY5" fmla="*/ 2264510 h 2264510"/>
              <a:gd name="connsiteX6" fmla="*/ 152167 w 7137698"/>
              <a:gd name="connsiteY6" fmla="*/ 2264510 h 2264510"/>
              <a:gd name="connsiteX7" fmla="*/ 27698 w 7137698"/>
              <a:gd name="connsiteY7" fmla="*/ 2140041 h 2264510"/>
              <a:gd name="connsiteX8" fmla="*/ 27698 w 7137698"/>
              <a:gd name="connsiteY8" fmla="*/ 192979 h 2264510"/>
              <a:gd name="connsiteX0" fmla="*/ 519224 w 7629224"/>
              <a:gd name="connsiteY0" fmla="*/ 2071531 h 2196000"/>
              <a:gd name="connsiteX1" fmla="*/ 522923 w 7629224"/>
              <a:gd name="connsiteY1" fmla="*/ 2156 h 2196000"/>
              <a:gd name="connsiteX2" fmla="*/ 7504755 w 7629224"/>
              <a:gd name="connsiteY2" fmla="*/ 0 h 2196000"/>
              <a:gd name="connsiteX3" fmla="*/ 7629224 w 7629224"/>
              <a:gd name="connsiteY3" fmla="*/ 124469 h 2196000"/>
              <a:gd name="connsiteX4" fmla="*/ 7629224 w 7629224"/>
              <a:gd name="connsiteY4" fmla="*/ 2071531 h 2196000"/>
              <a:gd name="connsiteX5" fmla="*/ 7504755 w 7629224"/>
              <a:gd name="connsiteY5" fmla="*/ 2196000 h 2196000"/>
              <a:gd name="connsiteX6" fmla="*/ 643693 w 7629224"/>
              <a:gd name="connsiteY6" fmla="*/ 2196000 h 2196000"/>
              <a:gd name="connsiteX7" fmla="*/ 519224 w 7629224"/>
              <a:gd name="connsiteY7" fmla="*/ 2071531 h 2196000"/>
              <a:gd name="connsiteX0" fmla="*/ 0 w 7110000"/>
              <a:gd name="connsiteY0" fmla="*/ 2071531 h 2196000"/>
              <a:gd name="connsiteX1" fmla="*/ 3699 w 7110000"/>
              <a:gd name="connsiteY1" fmla="*/ 2156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124469 w 7110000"/>
              <a:gd name="connsiteY6" fmla="*/ 2196000 h 2196000"/>
              <a:gd name="connsiteX7" fmla="*/ 0 w 7110000"/>
              <a:gd name="connsiteY7" fmla="*/ 2071531 h 2196000"/>
              <a:gd name="connsiteX0" fmla="*/ 0 w 7110000"/>
              <a:gd name="connsiteY0" fmla="*/ 2071531 h 2196000"/>
              <a:gd name="connsiteX1" fmla="*/ 3699 w 7110000"/>
              <a:gd name="connsiteY1" fmla="*/ 2156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0 w 7110000"/>
              <a:gd name="connsiteY6" fmla="*/ 2071531 h 2196000"/>
              <a:gd name="connsiteX0" fmla="*/ 0 w 7110000"/>
              <a:gd name="connsiteY0" fmla="*/ 2192301 h 2196000"/>
              <a:gd name="connsiteX1" fmla="*/ 3699 w 7110000"/>
              <a:gd name="connsiteY1" fmla="*/ 2156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0 w 7110000"/>
              <a:gd name="connsiteY6" fmla="*/ 2192301 h 2196000"/>
              <a:gd name="connsiteX0" fmla="*/ 0 w 7110000"/>
              <a:gd name="connsiteY0" fmla="*/ 2192301 h 2196000"/>
              <a:gd name="connsiteX1" fmla="*/ 3699 w 7110000"/>
              <a:gd name="connsiteY1" fmla="*/ 2156 h 2196000"/>
              <a:gd name="connsiteX2" fmla="*/ 6985531 w 7110000"/>
              <a:gd name="connsiteY2" fmla="*/ 0 h 2196000"/>
              <a:gd name="connsiteX3" fmla="*/ 7110000 w 7110000"/>
              <a:gd name="connsiteY3" fmla="*/ 124469 h 2196000"/>
              <a:gd name="connsiteX4" fmla="*/ 6985531 w 7110000"/>
              <a:gd name="connsiteY4" fmla="*/ 2196000 h 2196000"/>
              <a:gd name="connsiteX5" fmla="*/ 0 w 7110000"/>
              <a:gd name="connsiteY5" fmla="*/ 2192301 h 2196000"/>
              <a:gd name="connsiteX0" fmla="*/ 0 w 7112770"/>
              <a:gd name="connsiteY0" fmla="*/ 2192301 h 2193843"/>
              <a:gd name="connsiteX1" fmla="*/ 3699 w 7112770"/>
              <a:gd name="connsiteY1" fmla="*/ 2156 h 2193843"/>
              <a:gd name="connsiteX2" fmla="*/ 6985531 w 7112770"/>
              <a:gd name="connsiteY2" fmla="*/ 0 h 2193843"/>
              <a:gd name="connsiteX3" fmla="*/ 7110000 w 7112770"/>
              <a:gd name="connsiteY3" fmla="*/ 124469 h 2193843"/>
              <a:gd name="connsiteX4" fmla="*/ 7112770 w 7112770"/>
              <a:gd name="connsiteY4" fmla="*/ 2193843 h 2193843"/>
              <a:gd name="connsiteX5" fmla="*/ 0 w 7112770"/>
              <a:gd name="connsiteY5" fmla="*/ 2192301 h 2193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12770" h="2193843">
                <a:moveTo>
                  <a:pt x="0" y="2192301"/>
                </a:moveTo>
                <a:lnTo>
                  <a:pt x="3699" y="2156"/>
                </a:lnTo>
                <a:lnTo>
                  <a:pt x="6985531" y="0"/>
                </a:lnTo>
                <a:cubicBezTo>
                  <a:pt x="7054273" y="0"/>
                  <a:pt x="7110000" y="55727"/>
                  <a:pt x="7110000" y="124469"/>
                </a:cubicBezTo>
                <a:cubicBezTo>
                  <a:pt x="7110923" y="814260"/>
                  <a:pt x="7111847" y="1504052"/>
                  <a:pt x="7112770" y="2193843"/>
                </a:cubicBezTo>
                <a:lnTo>
                  <a:pt x="0" y="2192301"/>
                </a:lnTo>
                <a:close/>
              </a:path>
            </a:pathLst>
          </a:custGeom>
          <a:no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8" name="Auf der gleichen Seite des Rechtecks liegende Ecken abrunden 19"/>
          <p:cNvSpPr/>
          <p:nvPr userDrawn="1"/>
        </p:nvSpPr>
        <p:spPr>
          <a:xfrm>
            <a:off x="802250" y="4334732"/>
            <a:ext cx="7113007" cy="813078"/>
          </a:xfrm>
          <a:custGeom>
            <a:avLst/>
            <a:gdLst>
              <a:gd name="connsiteX0" fmla="*/ 135015 w 7110000"/>
              <a:gd name="connsiteY0" fmla="*/ 0 h 810071"/>
              <a:gd name="connsiteX1" fmla="*/ 6974985 w 7110000"/>
              <a:gd name="connsiteY1" fmla="*/ 0 h 810071"/>
              <a:gd name="connsiteX2" fmla="*/ 7110000 w 7110000"/>
              <a:gd name="connsiteY2" fmla="*/ 135015 h 810071"/>
              <a:gd name="connsiteX3" fmla="*/ 7110000 w 7110000"/>
              <a:gd name="connsiteY3" fmla="*/ 689298 h 810071"/>
              <a:gd name="connsiteX4" fmla="*/ 6989227 w 7110000"/>
              <a:gd name="connsiteY4" fmla="*/ 810071 h 810071"/>
              <a:gd name="connsiteX5" fmla="*/ 120773 w 7110000"/>
              <a:gd name="connsiteY5" fmla="*/ 810071 h 810071"/>
              <a:gd name="connsiteX6" fmla="*/ 0 w 7110000"/>
              <a:gd name="connsiteY6" fmla="*/ 689298 h 810071"/>
              <a:gd name="connsiteX7" fmla="*/ 0 w 7110000"/>
              <a:gd name="connsiteY7" fmla="*/ 135015 h 810071"/>
              <a:gd name="connsiteX8" fmla="*/ 135015 w 7110000"/>
              <a:gd name="connsiteY8" fmla="*/ 0 h 810071"/>
              <a:gd name="connsiteX0" fmla="*/ 135015 w 7110000"/>
              <a:gd name="connsiteY0" fmla="*/ 0 h 810071"/>
              <a:gd name="connsiteX1" fmla="*/ 6974985 w 7110000"/>
              <a:gd name="connsiteY1" fmla="*/ 0 h 810071"/>
              <a:gd name="connsiteX2" fmla="*/ 7110000 w 7110000"/>
              <a:gd name="connsiteY2" fmla="*/ 135015 h 810071"/>
              <a:gd name="connsiteX3" fmla="*/ 7110000 w 7110000"/>
              <a:gd name="connsiteY3" fmla="*/ 689298 h 810071"/>
              <a:gd name="connsiteX4" fmla="*/ 6989227 w 7110000"/>
              <a:gd name="connsiteY4" fmla="*/ 810071 h 810071"/>
              <a:gd name="connsiteX5" fmla="*/ 120773 w 7110000"/>
              <a:gd name="connsiteY5" fmla="*/ 810071 h 810071"/>
              <a:gd name="connsiteX6" fmla="*/ 0 w 7110000"/>
              <a:gd name="connsiteY6" fmla="*/ 689298 h 810071"/>
              <a:gd name="connsiteX7" fmla="*/ 135015 w 7110000"/>
              <a:gd name="connsiteY7" fmla="*/ 0 h 810071"/>
              <a:gd name="connsiteX0" fmla="*/ 0 w 7110132"/>
              <a:gd name="connsiteY0" fmla="*/ 0 h 812947"/>
              <a:gd name="connsiteX1" fmla="*/ 6975117 w 7110132"/>
              <a:gd name="connsiteY1" fmla="*/ 2876 h 812947"/>
              <a:gd name="connsiteX2" fmla="*/ 7110132 w 7110132"/>
              <a:gd name="connsiteY2" fmla="*/ 137891 h 812947"/>
              <a:gd name="connsiteX3" fmla="*/ 7110132 w 7110132"/>
              <a:gd name="connsiteY3" fmla="*/ 692174 h 812947"/>
              <a:gd name="connsiteX4" fmla="*/ 6989359 w 7110132"/>
              <a:gd name="connsiteY4" fmla="*/ 812947 h 812947"/>
              <a:gd name="connsiteX5" fmla="*/ 120905 w 7110132"/>
              <a:gd name="connsiteY5" fmla="*/ 812947 h 812947"/>
              <a:gd name="connsiteX6" fmla="*/ 132 w 7110132"/>
              <a:gd name="connsiteY6" fmla="*/ 692174 h 812947"/>
              <a:gd name="connsiteX7" fmla="*/ 0 w 7110132"/>
              <a:gd name="connsiteY7" fmla="*/ 0 h 812947"/>
              <a:gd name="connsiteX0" fmla="*/ 0 w 7110132"/>
              <a:gd name="connsiteY0" fmla="*/ 0 h 812947"/>
              <a:gd name="connsiteX1" fmla="*/ 7110132 w 7110132"/>
              <a:gd name="connsiteY1" fmla="*/ 137891 h 812947"/>
              <a:gd name="connsiteX2" fmla="*/ 7110132 w 7110132"/>
              <a:gd name="connsiteY2" fmla="*/ 692174 h 812947"/>
              <a:gd name="connsiteX3" fmla="*/ 6989359 w 7110132"/>
              <a:gd name="connsiteY3" fmla="*/ 812947 h 812947"/>
              <a:gd name="connsiteX4" fmla="*/ 120905 w 7110132"/>
              <a:gd name="connsiteY4" fmla="*/ 812947 h 812947"/>
              <a:gd name="connsiteX5" fmla="*/ 132 w 7110132"/>
              <a:gd name="connsiteY5" fmla="*/ 692174 h 812947"/>
              <a:gd name="connsiteX6" fmla="*/ 0 w 7110132"/>
              <a:gd name="connsiteY6" fmla="*/ 0 h 812947"/>
              <a:gd name="connsiteX0" fmla="*/ 0 w 7113007"/>
              <a:gd name="connsiteY0" fmla="*/ 131 h 813078"/>
              <a:gd name="connsiteX1" fmla="*/ 7113007 w 7113007"/>
              <a:gd name="connsiteY1" fmla="*/ 0 h 813078"/>
              <a:gd name="connsiteX2" fmla="*/ 7110132 w 7113007"/>
              <a:gd name="connsiteY2" fmla="*/ 692305 h 813078"/>
              <a:gd name="connsiteX3" fmla="*/ 6989359 w 7113007"/>
              <a:gd name="connsiteY3" fmla="*/ 813078 h 813078"/>
              <a:gd name="connsiteX4" fmla="*/ 120905 w 7113007"/>
              <a:gd name="connsiteY4" fmla="*/ 813078 h 813078"/>
              <a:gd name="connsiteX5" fmla="*/ 132 w 7113007"/>
              <a:gd name="connsiteY5" fmla="*/ 692305 h 813078"/>
              <a:gd name="connsiteX6" fmla="*/ 0 w 7113007"/>
              <a:gd name="connsiteY6" fmla="*/ 131 h 81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13007" h="813078">
                <a:moveTo>
                  <a:pt x="0" y="131"/>
                </a:moveTo>
                <a:lnTo>
                  <a:pt x="7113007" y="0"/>
                </a:lnTo>
                <a:cubicBezTo>
                  <a:pt x="7112049" y="230768"/>
                  <a:pt x="7111090" y="461537"/>
                  <a:pt x="7110132" y="692305"/>
                </a:cubicBezTo>
                <a:cubicBezTo>
                  <a:pt x="7110132" y="759006"/>
                  <a:pt x="7056060" y="813078"/>
                  <a:pt x="6989359" y="813078"/>
                </a:cubicBezTo>
                <a:lnTo>
                  <a:pt x="120905" y="813078"/>
                </a:lnTo>
                <a:cubicBezTo>
                  <a:pt x="54204" y="813078"/>
                  <a:pt x="132" y="759006"/>
                  <a:pt x="132" y="692305"/>
                </a:cubicBezTo>
                <a:lnTo>
                  <a:pt x="0" y="131"/>
                </a:lnTo>
                <a:close/>
              </a:path>
            </a:pathLst>
          </a:custGeom>
          <a:no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de-DE"/>
          </a:p>
        </p:txBody>
      </p:sp>
      <p:sp>
        <p:nvSpPr>
          <p:cNvPr id="30" name="Titel 12"/>
          <p:cNvSpPr>
            <a:spLocks noGrp="1"/>
          </p:cNvSpPr>
          <p:nvPr>
            <p:ph type="title"/>
          </p:nvPr>
        </p:nvSpPr>
        <p:spPr>
          <a:xfrm>
            <a:off x="1331974" y="2425341"/>
            <a:ext cx="6300000" cy="1000274"/>
          </a:xfrm>
        </p:spPr>
        <p:txBody>
          <a:bodyPr/>
          <a:lstStyle>
            <a:lvl1pPr>
              <a:defRPr sz="3200"/>
            </a:lvl1pPr>
          </a:lstStyle>
          <a:p>
            <a:r>
              <a:rPr lang="de-DE" dirty="0"/>
              <a:t>Titelmasterformat durch Klicken bearbeiten</a:t>
            </a:r>
          </a:p>
        </p:txBody>
      </p:sp>
      <p:sp>
        <p:nvSpPr>
          <p:cNvPr id="31" name="Textplatzhalter 8"/>
          <p:cNvSpPr>
            <a:spLocks noGrp="1"/>
          </p:cNvSpPr>
          <p:nvPr>
            <p:ph type="body" sz="quarter" idx="10"/>
          </p:nvPr>
        </p:nvSpPr>
        <p:spPr>
          <a:xfrm>
            <a:off x="1331973" y="4334732"/>
            <a:ext cx="6300001" cy="8130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marL="803275" indent="-803275">
              <a:tabLst>
                <a:tab pos="810000" algn="l"/>
              </a:tabLst>
              <a:defRPr lang="de-DE" b="0" dirty="0" smtClean="0"/>
            </a:lvl1pPr>
          </a:lstStyle>
          <a:p>
            <a:pPr marL="0" lvl="0" indent="0">
              <a:lnSpc>
                <a:spcPts val="2100"/>
              </a:lnSpc>
              <a:buNone/>
            </a:pPr>
            <a:r>
              <a:rPr lang="de-DE" dirty="0"/>
              <a:t>Textmasterformat bearbeiten</a:t>
            </a:r>
          </a:p>
        </p:txBody>
      </p:sp>
      <p:grpSp>
        <p:nvGrpSpPr>
          <p:cNvPr id="6" name="Gruppieren 5"/>
          <p:cNvGrpSpPr>
            <a:grpSpLocks noChangeAspect="1"/>
          </p:cNvGrpSpPr>
          <p:nvPr userDrawn="1"/>
        </p:nvGrpSpPr>
        <p:grpSpPr>
          <a:xfrm>
            <a:off x="6606808" y="3175"/>
            <a:ext cx="2334883" cy="1423059"/>
            <a:chOff x="3864634" y="3175"/>
            <a:chExt cx="2334883" cy="1423059"/>
          </a:xfrm>
        </p:grpSpPr>
        <p:sp>
          <p:nvSpPr>
            <p:cNvPr id="3" name="Abgerundetes Rechteck 2"/>
            <p:cNvSpPr/>
            <p:nvPr userDrawn="1"/>
          </p:nvSpPr>
          <p:spPr>
            <a:xfrm>
              <a:off x="3864634" y="3175"/>
              <a:ext cx="2334883" cy="1423059"/>
            </a:xfrm>
            <a:prstGeom prst="roundRect">
              <a:avLst>
                <a:gd name="adj" fmla="val 9595"/>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4" name="Rechteck 3"/>
            <p:cNvSpPr/>
            <p:nvPr userDrawn="1"/>
          </p:nvSpPr>
          <p:spPr>
            <a:xfrm>
              <a:off x="4015596" y="156704"/>
              <a:ext cx="2032958" cy="1116000"/>
            </a:xfrm>
            <a:prstGeom prst="rect">
              <a:avLst/>
            </a:prstGeom>
            <a:solidFill>
              <a:srgbClr val="C3C3C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050" b="1" dirty="0"/>
                <a:t>Platz für Logo Vermittler</a:t>
              </a:r>
            </a:p>
          </p:txBody>
        </p:sp>
      </p:grpSp>
      <p:sp>
        <p:nvSpPr>
          <p:cNvPr id="14" name="Datumsplatzhalter 6"/>
          <p:cNvSpPr txBox="1">
            <a:spLocks/>
          </p:cNvSpPr>
          <p:nvPr userDrawn="1"/>
        </p:nvSpPr>
        <p:spPr>
          <a:xfrm>
            <a:off x="0" y="0"/>
            <a:ext cx="4572000" cy="800100"/>
          </a:xfrm>
          <a:prstGeom prst="rect">
            <a:avLst/>
          </a:prstGeom>
        </p:spPr>
        <p:txBody>
          <a:bodyPr vert="horz" lIns="360000" tIns="0" rIns="0" bIns="0" rtlCol="0" anchor="ctr"/>
          <a:lstStyle>
            <a:defPPr>
              <a:defRPr lang="de-DE"/>
            </a:defPPr>
            <a:lvl1pPr algn="l" defTabSz="457200" rtl="0" eaLnBrk="0" fontAlgn="base" hangingPunct="0">
              <a:spcBef>
                <a:spcPct val="0"/>
              </a:spcBef>
              <a:spcAft>
                <a:spcPct val="0"/>
              </a:spcAft>
              <a:defRPr sz="1000" b="1" kern="1200">
                <a:solidFill>
                  <a:srgbClr val="646464"/>
                </a:solidFill>
                <a:latin typeface="Arial" panose="020B0604020202020204" pitchFamily="34" charset="0"/>
                <a:ea typeface="+mn-ea"/>
                <a:cs typeface="Arial" panose="020B0604020202020204" pitchFamily="34" charset="0"/>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l"/>
            <a:r>
              <a:rPr lang="de-DE" b="0" dirty="0">
                <a:solidFill>
                  <a:schemeClr val="tx1"/>
                </a:solidFill>
              </a:rPr>
              <a:t>Präsentation für Arbeitgeber</a:t>
            </a:r>
          </a:p>
        </p:txBody>
      </p:sp>
      <p:sp>
        <p:nvSpPr>
          <p:cNvPr id="16" name="Untertitel 2"/>
          <p:cNvSpPr>
            <a:spLocks noGrp="1"/>
          </p:cNvSpPr>
          <p:nvPr>
            <p:ph type="subTitle" idx="1"/>
          </p:nvPr>
        </p:nvSpPr>
        <p:spPr>
          <a:xfrm>
            <a:off x="1331973" y="3406252"/>
            <a:ext cx="6300000" cy="874011"/>
          </a:xfrm>
          <a:prstGeom prst="rect">
            <a:avLst/>
          </a:prstGeom>
        </p:spPr>
        <p:txBody>
          <a:bodyPr lIns="0" tIns="0" rIns="0" bIns="0" anchor="ctr"/>
          <a:lstStyle>
            <a:lvl1pPr marL="0" indent="0" algn="l">
              <a:lnSpc>
                <a:spcPts val="2100"/>
              </a:lnSpc>
              <a:buNone/>
              <a:defRPr sz="2000">
                <a:solidFill>
                  <a:schemeClr val="tx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Tree>
    <p:extLst>
      <p:ext uri="{BB962C8B-B14F-4D97-AF65-F5344CB8AC3E}">
        <p14:creationId xmlns:p14="http://schemas.microsoft.com/office/powerpoint/2010/main" val="3167226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folie 04 (Vermittler: Text &amp; Bild)">
    <p:spTree>
      <p:nvGrpSpPr>
        <p:cNvPr id="1" name=""/>
        <p:cNvGrpSpPr/>
        <p:nvPr/>
      </p:nvGrpSpPr>
      <p:grpSpPr>
        <a:xfrm>
          <a:off x="0" y="0"/>
          <a:ext cx="0" cy="0"/>
          <a:chOff x="0" y="0"/>
          <a:chExt cx="0" cy="0"/>
        </a:xfrm>
      </p:grpSpPr>
      <p:sp>
        <p:nvSpPr>
          <p:cNvPr id="15" name="Rechteck 14"/>
          <p:cNvSpPr/>
          <p:nvPr userDrawn="1"/>
        </p:nvSpPr>
        <p:spPr>
          <a:xfrm>
            <a:off x="0" y="802216"/>
            <a:ext cx="9144000" cy="6057292"/>
          </a:xfrm>
          <a:prstGeom prst="rect">
            <a:avLst/>
          </a:prstGeom>
          <a:solidFill>
            <a:srgbClr val="F0F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18" name="Grafik 1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812732"/>
            <a:ext cx="9144000" cy="6045268"/>
          </a:xfrm>
          <a:prstGeom prst="rect">
            <a:avLst/>
          </a:prstGeom>
        </p:spPr>
      </p:pic>
      <p:graphicFrame>
        <p:nvGraphicFramePr>
          <p:cNvPr id="5" name="Objekt 10"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494" name="think-cell Folie" r:id="rId5" imgW="216" imgH="216" progId="TCLayout.ActiveDocument.1">
                  <p:embed/>
                </p:oleObj>
              </mc:Choice>
              <mc:Fallback>
                <p:oleObj name="think-cell Folie" r:id="rId5" imgW="216" imgH="216" progId="TCLayout.ActiveDocument.1">
                  <p:embed/>
                  <p:pic>
                    <p:nvPicPr>
                      <p:cNvPr id="5" name="Objekt 10"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9" name="Abgerundetes Rechteck 18"/>
          <p:cNvSpPr/>
          <p:nvPr userDrawn="1"/>
        </p:nvSpPr>
        <p:spPr>
          <a:xfrm>
            <a:off x="802382" y="2086421"/>
            <a:ext cx="7112770" cy="2193843"/>
          </a:xfrm>
          <a:custGeom>
            <a:avLst/>
            <a:gdLst>
              <a:gd name="connsiteX0" fmla="*/ 0 w 7110000"/>
              <a:gd name="connsiteY0" fmla="*/ 124469 h 2196000"/>
              <a:gd name="connsiteX1" fmla="*/ 124469 w 7110000"/>
              <a:gd name="connsiteY1" fmla="*/ 0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124469 w 7110000"/>
              <a:gd name="connsiteY6" fmla="*/ 2196000 h 2196000"/>
              <a:gd name="connsiteX7" fmla="*/ 0 w 7110000"/>
              <a:gd name="connsiteY7" fmla="*/ 2071531 h 2196000"/>
              <a:gd name="connsiteX8" fmla="*/ 0 w 7110000"/>
              <a:gd name="connsiteY8" fmla="*/ 124469 h 2196000"/>
              <a:gd name="connsiteX0" fmla="*/ 0 w 7110000"/>
              <a:gd name="connsiteY0" fmla="*/ 124469 h 2196000"/>
              <a:gd name="connsiteX1" fmla="*/ 124469 w 7110000"/>
              <a:gd name="connsiteY1" fmla="*/ 0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124469 w 7110000"/>
              <a:gd name="connsiteY6" fmla="*/ 2196000 h 2196000"/>
              <a:gd name="connsiteX7" fmla="*/ 0 w 7110000"/>
              <a:gd name="connsiteY7" fmla="*/ 2071531 h 2196000"/>
              <a:gd name="connsiteX8" fmla="*/ 0 w 7110000"/>
              <a:gd name="connsiteY8" fmla="*/ 124469 h 2196000"/>
              <a:gd name="connsiteX0" fmla="*/ 27698 w 7137698"/>
              <a:gd name="connsiteY0" fmla="*/ 192979 h 2264510"/>
              <a:gd name="connsiteX1" fmla="*/ 31397 w 7137698"/>
              <a:gd name="connsiteY1" fmla="*/ 70666 h 2264510"/>
              <a:gd name="connsiteX2" fmla="*/ 7013229 w 7137698"/>
              <a:gd name="connsiteY2" fmla="*/ 68510 h 2264510"/>
              <a:gd name="connsiteX3" fmla="*/ 7137698 w 7137698"/>
              <a:gd name="connsiteY3" fmla="*/ 192979 h 2264510"/>
              <a:gd name="connsiteX4" fmla="*/ 7137698 w 7137698"/>
              <a:gd name="connsiteY4" fmla="*/ 2140041 h 2264510"/>
              <a:gd name="connsiteX5" fmla="*/ 7013229 w 7137698"/>
              <a:gd name="connsiteY5" fmla="*/ 2264510 h 2264510"/>
              <a:gd name="connsiteX6" fmla="*/ 152167 w 7137698"/>
              <a:gd name="connsiteY6" fmla="*/ 2264510 h 2264510"/>
              <a:gd name="connsiteX7" fmla="*/ 27698 w 7137698"/>
              <a:gd name="connsiteY7" fmla="*/ 2140041 h 2264510"/>
              <a:gd name="connsiteX8" fmla="*/ 27698 w 7137698"/>
              <a:gd name="connsiteY8" fmla="*/ 192979 h 2264510"/>
              <a:gd name="connsiteX0" fmla="*/ 519224 w 7629224"/>
              <a:gd name="connsiteY0" fmla="*/ 2071531 h 2196000"/>
              <a:gd name="connsiteX1" fmla="*/ 522923 w 7629224"/>
              <a:gd name="connsiteY1" fmla="*/ 2156 h 2196000"/>
              <a:gd name="connsiteX2" fmla="*/ 7504755 w 7629224"/>
              <a:gd name="connsiteY2" fmla="*/ 0 h 2196000"/>
              <a:gd name="connsiteX3" fmla="*/ 7629224 w 7629224"/>
              <a:gd name="connsiteY3" fmla="*/ 124469 h 2196000"/>
              <a:gd name="connsiteX4" fmla="*/ 7629224 w 7629224"/>
              <a:gd name="connsiteY4" fmla="*/ 2071531 h 2196000"/>
              <a:gd name="connsiteX5" fmla="*/ 7504755 w 7629224"/>
              <a:gd name="connsiteY5" fmla="*/ 2196000 h 2196000"/>
              <a:gd name="connsiteX6" fmla="*/ 643693 w 7629224"/>
              <a:gd name="connsiteY6" fmla="*/ 2196000 h 2196000"/>
              <a:gd name="connsiteX7" fmla="*/ 519224 w 7629224"/>
              <a:gd name="connsiteY7" fmla="*/ 2071531 h 2196000"/>
              <a:gd name="connsiteX0" fmla="*/ 0 w 7110000"/>
              <a:gd name="connsiteY0" fmla="*/ 2071531 h 2196000"/>
              <a:gd name="connsiteX1" fmla="*/ 3699 w 7110000"/>
              <a:gd name="connsiteY1" fmla="*/ 2156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124469 w 7110000"/>
              <a:gd name="connsiteY6" fmla="*/ 2196000 h 2196000"/>
              <a:gd name="connsiteX7" fmla="*/ 0 w 7110000"/>
              <a:gd name="connsiteY7" fmla="*/ 2071531 h 2196000"/>
              <a:gd name="connsiteX0" fmla="*/ 0 w 7110000"/>
              <a:gd name="connsiteY0" fmla="*/ 2071531 h 2196000"/>
              <a:gd name="connsiteX1" fmla="*/ 3699 w 7110000"/>
              <a:gd name="connsiteY1" fmla="*/ 2156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0 w 7110000"/>
              <a:gd name="connsiteY6" fmla="*/ 2071531 h 2196000"/>
              <a:gd name="connsiteX0" fmla="*/ 0 w 7110000"/>
              <a:gd name="connsiteY0" fmla="*/ 2192301 h 2196000"/>
              <a:gd name="connsiteX1" fmla="*/ 3699 w 7110000"/>
              <a:gd name="connsiteY1" fmla="*/ 2156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0 w 7110000"/>
              <a:gd name="connsiteY6" fmla="*/ 2192301 h 2196000"/>
              <a:gd name="connsiteX0" fmla="*/ 0 w 7110000"/>
              <a:gd name="connsiteY0" fmla="*/ 2192301 h 2196000"/>
              <a:gd name="connsiteX1" fmla="*/ 3699 w 7110000"/>
              <a:gd name="connsiteY1" fmla="*/ 2156 h 2196000"/>
              <a:gd name="connsiteX2" fmla="*/ 6985531 w 7110000"/>
              <a:gd name="connsiteY2" fmla="*/ 0 h 2196000"/>
              <a:gd name="connsiteX3" fmla="*/ 7110000 w 7110000"/>
              <a:gd name="connsiteY3" fmla="*/ 124469 h 2196000"/>
              <a:gd name="connsiteX4" fmla="*/ 6985531 w 7110000"/>
              <a:gd name="connsiteY4" fmla="*/ 2196000 h 2196000"/>
              <a:gd name="connsiteX5" fmla="*/ 0 w 7110000"/>
              <a:gd name="connsiteY5" fmla="*/ 2192301 h 2196000"/>
              <a:gd name="connsiteX0" fmla="*/ 0 w 7112770"/>
              <a:gd name="connsiteY0" fmla="*/ 2192301 h 2193843"/>
              <a:gd name="connsiteX1" fmla="*/ 3699 w 7112770"/>
              <a:gd name="connsiteY1" fmla="*/ 2156 h 2193843"/>
              <a:gd name="connsiteX2" fmla="*/ 6985531 w 7112770"/>
              <a:gd name="connsiteY2" fmla="*/ 0 h 2193843"/>
              <a:gd name="connsiteX3" fmla="*/ 7110000 w 7112770"/>
              <a:gd name="connsiteY3" fmla="*/ 124469 h 2193843"/>
              <a:gd name="connsiteX4" fmla="*/ 7112770 w 7112770"/>
              <a:gd name="connsiteY4" fmla="*/ 2193843 h 2193843"/>
              <a:gd name="connsiteX5" fmla="*/ 0 w 7112770"/>
              <a:gd name="connsiteY5" fmla="*/ 2192301 h 2193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12770" h="2193843">
                <a:moveTo>
                  <a:pt x="0" y="2192301"/>
                </a:moveTo>
                <a:lnTo>
                  <a:pt x="3699" y="2156"/>
                </a:lnTo>
                <a:lnTo>
                  <a:pt x="6985531" y="0"/>
                </a:lnTo>
                <a:cubicBezTo>
                  <a:pt x="7054273" y="0"/>
                  <a:pt x="7110000" y="55727"/>
                  <a:pt x="7110000" y="124469"/>
                </a:cubicBezTo>
                <a:cubicBezTo>
                  <a:pt x="7110923" y="814260"/>
                  <a:pt x="7111847" y="1504052"/>
                  <a:pt x="7112770" y="2193843"/>
                </a:cubicBezTo>
                <a:lnTo>
                  <a:pt x="0" y="2192301"/>
                </a:lnTo>
                <a:close/>
              </a:path>
            </a:pathLst>
          </a:custGeom>
          <a:solidFill>
            <a:srgbClr val="FFFFFF">
              <a:alpha val="60000"/>
            </a:srgb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0" name="Auf der gleichen Seite des Rechtecks liegende Ecken abrunden 19"/>
          <p:cNvSpPr/>
          <p:nvPr userDrawn="1"/>
        </p:nvSpPr>
        <p:spPr>
          <a:xfrm>
            <a:off x="802250" y="4334732"/>
            <a:ext cx="7113007" cy="813078"/>
          </a:xfrm>
          <a:custGeom>
            <a:avLst/>
            <a:gdLst>
              <a:gd name="connsiteX0" fmla="*/ 135015 w 7110000"/>
              <a:gd name="connsiteY0" fmla="*/ 0 h 810071"/>
              <a:gd name="connsiteX1" fmla="*/ 6974985 w 7110000"/>
              <a:gd name="connsiteY1" fmla="*/ 0 h 810071"/>
              <a:gd name="connsiteX2" fmla="*/ 7110000 w 7110000"/>
              <a:gd name="connsiteY2" fmla="*/ 135015 h 810071"/>
              <a:gd name="connsiteX3" fmla="*/ 7110000 w 7110000"/>
              <a:gd name="connsiteY3" fmla="*/ 689298 h 810071"/>
              <a:gd name="connsiteX4" fmla="*/ 6989227 w 7110000"/>
              <a:gd name="connsiteY4" fmla="*/ 810071 h 810071"/>
              <a:gd name="connsiteX5" fmla="*/ 120773 w 7110000"/>
              <a:gd name="connsiteY5" fmla="*/ 810071 h 810071"/>
              <a:gd name="connsiteX6" fmla="*/ 0 w 7110000"/>
              <a:gd name="connsiteY6" fmla="*/ 689298 h 810071"/>
              <a:gd name="connsiteX7" fmla="*/ 0 w 7110000"/>
              <a:gd name="connsiteY7" fmla="*/ 135015 h 810071"/>
              <a:gd name="connsiteX8" fmla="*/ 135015 w 7110000"/>
              <a:gd name="connsiteY8" fmla="*/ 0 h 810071"/>
              <a:gd name="connsiteX0" fmla="*/ 135015 w 7110000"/>
              <a:gd name="connsiteY0" fmla="*/ 0 h 810071"/>
              <a:gd name="connsiteX1" fmla="*/ 6974985 w 7110000"/>
              <a:gd name="connsiteY1" fmla="*/ 0 h 810071"/>
              <a:gd name="connsiteX2" fmla="*/ 7110000 w 7110000"/>
              <a:gd name="connsiteY2" fmla="*/ 135015 h 810071"/>
              <a:gd name="connsiteX3" fmla="*/ 7110000 w 7110000"/>
              <a:gd name="connsiteY3" fmla="*/ 689298 h 810071"/>
              <a:gd name="connsiteX4" fmla="*/ 6989227 w 7110000"/>
              <a:gd name="connsiteY4" fmla="*/ 810071 h 810071"/>
              <a:gd name="connsiteX5" fmla="*/ 120773 w 7110000"/>
              <a:gd name="connsiteY5" fmla="*/ 810071 h 810071"/>
              <a:gd name="connsiteX6" fmla="*/ 0 w 7110000"/>
              <a:gd name="connsiteY6" fmla="*/ 689298 h 810071"/>
              <a:gd name="connsiteX7" fmla="*/ 135015 w 7110000"/>
              <a:gd name="connsiteY7" fmla="*/ 0 h 810071"/>
              <a:gd name="connsiteX0" fmla="*/ 0 w 7110132"/>
              <a:gd name="connsiteY0" fmla="*/ 0 h 812947"/>
              <a:gd name="connsiteX1" fmla="*/ 6975117 w 7110132"/>
              <a:gd name="connsiteY1" fmla="*/ 2876 h 812947"/>
              <a:gd name="connsiteX2" fmla="*/ 7110132 w 7110132"/>
              <a:gd name="connsiteY2" fmla="*/ 137891 h 812947"/>
              <a:gd name="connsiteX3" fmla="*/ 7110132 w 7110132"/>
              <a:gd name="connsiteY3" fmla="*/ 692174 h 812947"/>
              <a:gd name="connsiteX4" fmla="*/ 6989359 w 7110132"/>
              <a:gd name="connsiteY4" fmla="*/ 812947 h 812947"/>
              <a:gd name="connsiteX5" fmla="*/ 120905 w 7110132"/>
              <a:gd name="connsiteY5" fmla="*/ 812947 h 812947"/>
              <a:gd name="connsiteX6" fmla="*/ 132 w 7110132"/>
              <a:gd name="connsiteY6" fmla="*/ 692174 h 812947"/>
              <a:gd name="connsiteX7" fmla="*/ 0 w 7110132"/>
              <a:gd name="connsiteY7" fmla="*/ 0 h 812947"/>
              <a:gd name="connsiteX0" fmla="*/ 0 w 7110132"/>
              <a:gd name="connsiteY0" fmla="*/ 0 h 812947"/>
              <a:gd name="connsiteX1" fmla="*/ 7110132 w 7110132"/>
              <a:gd name="connsiteY1" fmla="*/ 137891 h 812947"/>
              <a:gd name="connsiteX2" fmla="*/ 7110132 w 7110132"/>
              <a:gd name="connsiteY2" fmla="*/ 692174 h 812947"/>
              <a:gd name="connsiteX3" fmla="*/ 6989359 w 7110132"/>
              <a:gd name="connsiteY3" fmla="*/ 812947 h 812947"/>
              <a:gd name="connsiteX4" fmla="*/ 120905 w 7110132"/>
              <a:gd name="connsiteY4" fmla="*/ 812947 h 812947"/>
              <a:gd name="connsiteX5" fmla="*/ 132 w 7110132"/>
              <a:gd name="connsiteY5" fmla="*/ 692174 h 812947"/>
              <a:gd name="connsiteX6" fmla="*/ 0 w 7110132"/>
              <a:gd name="connsiteY6" fmla="*/ 0 h 812947"/>
              <a:gd name="connsiteX0" fmla="*/ 0 w 7113007"/>
              <a:gd name="connsiteY0" fmla="*/ 131 h 813078"/>
              <a:gd name="connsiteX1" fmla="*/ 7113007 w 7113007"/>
              <a:gd name="connsiteY1" fmla="*/ 0 h 813078"/>
              <a:gd name="connsiteX2" fmla="*/ 7110132 w 7113007"/>
              <a:gd name="connsiteY2" fmla="*/ 692305 h 813078"/>
              <a:gd name="connsiteX3" fmla="*/ 6989359 w 7113007"/>
              <a:gd name="connsiteY3" fmla="*/ 813078 h 813078"/>
              <a:gd name="connsiteX4" fmla="*/ 120905 w 7113007"/>
              <a:gd name="connsiteY4" fmla="*/ 813078 h 813078"/>
              <a:gd name="connsiteX5" fmla="*/ 132 w 7113007"/>
              <a:gd name="connsiteY5" fmla="*/ 692305 h 813078"/>
              <a:gd name="connsiteX6" fmla="*/ 0 w 7113007"/>
              <a:gd name="connsiteY6" fmla="*/ 131 h 81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13007" h="813078">
                <a:moveTo>
                  <a:pt x="0" y="131"/>
                </a:moveTo>
                <a:lnTo>
                  <a:pt x="7113007" y="0"/>
                </a:lnTo>
                <a:cubicBezTo>
                  <a:pt x="7112049" y="230768"/>
                  <a:pt x="7111090" y="461537"/>
                  <a:pt x="7110132" y="692305"/>
                </a:cubicBezTo>
                <a:cubicBezTo>
                  <a:pt x="7110132" y="759006"/>
                  <a:pt x="7056060" y="813078"/>
                  <a:pt x="6989359" y="813078"/>
                </a:cubicBezTo>
                <a:lnTo>
                  <a:pt x="120905" y="813078"/>
                </a:lnTo>
                <a:cubicBezTo>
                  <a:pt x="54204" y="813078"/>
                  <a:pt x="132" y="759006"/>
                  <a:pt x="132" y="692305"/>
                </a:cubicBezTo>
                <a:lnTo>
                  <a:pt x="0" y="131"/>
                </a:lnTo>
                <a:close/>
              </a:path>
            </a:pathLst>
          </a:custGeom>
          <a:solidFill>
            <a:srgbClr val="FFFFFF">
              <a:alpha val="85098"/>
            </a:srgb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de-DE"/>
          </a:p>
        </p:txBody>
      </p:sp>
      <p:sp>
        <p:nvSpPr>
          <p:cNvPr id="13" name="Titel 12"/>
          <p:cNvSpPr>
            <a:spLocks noGrp="1"/>
          </p:cNvSpPr>
          <p:nvPr>
            <p:ph type="title"/>
          </p:nvPr>
        </p:nvSpPr>
        <p:spPr>
          <a:xfrm>
            <a:off x="1331974" y="2425341"/>
            <a:ext cx="6300000" cy="1000274"/>
          </a:xfrm>
        </p:spPr>
        <p:txBody>
          <a:bodyPr/>
          <a:lstStyle>
            <a:lvl1pPr>
              <a:defRPr sz="3200"/>
            </a:lvl1pPr>
          </a:lstStyle>
          <a:p>
            <a:r>
              <a:rPr lang="de-DE" dirty="0"/>
              <a:t>Titelmasterformat durch Klicken bearbeiten</a:t>
            </a:r>
          </a:p>
        </p:txBody>
      </p:sp>
      <p:sp>
        <p:nvSpPr>
          <p:cNvPr id="9" name="Textplatzhalter 8"/>
          <p:cNvSpPr>
            <a:spLocks noGrp="1"/>
          </p:cNvSpPr>
          <p:nvPr>
            <p:ph type="body" sz="quarter" idx="10"/>
          </p:nvPr>
        </p:nvSpPr>
        <p:spPr>
          <a:xfrm>
            <a:off x="1331973" y="4334732"/>
            <a:ext cx="6300001" cy="8130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marL="803275" indent="-803275">
              <a:tabLst>
                <a:tab pos="810000" algn="l"/>
              </a:tabLst>
              <a:defRPr lang="de-DE" b="0" dirty="0" smtClean="0"/>
            </a:lvl1pPr>
          </a:lstStyle>
          <a:p>
            <a:pPr marL="0" lvl="0" indent="0">
              <a:lnSpc>
                <a:spcPts val="2100"/>
              </a:lnSpc>
              <a:buNone/>
            </a:pPr>
            <a:r>
              <a:rPr lang="de-DE" dirty="0"/>
              <a:t>Textmasterformat bearbeiten</a:t>
            </a:r>
          </a:p>
        </p:txBody>
      </p:sp>
      <p:sp>
        <p:nvSpPr>
          <p:cNvPr id="16" name="Datumsplatzhalter 6"/>
          <p:cNvSpPr txBox="1">
            <a:spLocks/>
          </p:cNvSpPr>
          <p:nvPr userDrawn="1"/>
        </p:nvSpPr>
        <p:spPr>
          <a:xfrm>
            <a:off x="0" y="0"/>
            <a:ext cx="4572000" cy="800100"/>
          </a:xfrm>
          <a:prstGeom prst="rect">
            <a:avLst/>
          </a:prstGeom>
        </p:spPr>
        <p:txBody>
          <a:bodyPr vert="horz" lIns="360000" tIns="0" rIns="0" bIns="0" rtlCol="0" anchor="ctr"/>
          <a:lstStyle>
            <a:defPPr>
              <a:defRPr lang="de-DE"/>
            </a:defPPr>
            <a:lvl1pPr algn="l" defTabSz="457200" rtl="0" eaLnBrk="0" fontAlgn="base" hangingPunct="0">
              <a:spcBef>
                <a:spcPct val="0"/>
              </a:spcBef>
              <a:spcAft>
                <a:spcPct val="0"/>
              </a:spcAft>
              <a:defRPr sz="1000" b="1" kern="1200">
                <a:solidFill>
                  <a:srgbClr val="646464"/>
                </a:solidFill>
                <a:latin typeface="Arial" panose="020B0604020202020204" pitchFamily="34" charset="0"/>
                <a:ea typeface="+mn-ea"/>
                <a:cs typeface="Arial" panose="020B0604020202020204" pitchFamily="34" charset="0"/>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l"/>
            <a:r>
              <a:rPr lang="de-DE" b="0" dirty="0">
                <a:solidFill>
                  <a:schemeClr val="tx1"/>
                </a:solidFill>
              </a:rPr>
              <a:t>Präsentation für Arbeitnehmer</a:t>
            </a:r>
          </a:p>
        </p:txBody>
      </p:sp>
      <p:grpSp>
        <p:nvGrpSpPr>
          <p:cNvPr id="11" name="Gruppieren 10"/>
          <p:cNvGrpSpPr>
            <a:grpSpLocks noChangeAspect="1"/>
          </p:cNvGrpSpPr>
          <p:nvPr userDrawn="1"/>
        </p:nvGrpSpPr>
        <p:grpSpPr>
          <a:xfrm>
            <a:off x="6606808" y="3175"/>
            <a:ext cx="2334883" cy="1423059"/>
            <a:chOff x="3864634" y="3175"/>
            <a:chExt cx="2334883" cy="1423059"/>
          </a:xfrm>
        </p:grpSpPr>
        <p:sp>
          <p:nvSpPr>
            <p:cNvPr id="12" name="Abgerundetes Rechteck 11"/>
            <p:cNvSpPr/>
            <p:nvPr userDrawn="1"/>
          </p:nvSpPr>
          <p:spPr>
            <a:xfrm>
              <a:off x="3864634" y="3175"/>
              <a:ext cx="2334883" cy="1423059"/>
            </a:xfrm>
            <a:prstGeom prst="roundRect">
              <a:avLst>
                <a:gd name="adj" fmla="val 9595"/>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Rechteck 13"/>
            <p:cNvSpPr/>
            <p:nvPr userDrawn="1"/>
          </p:nvSpPr>
          <p:spPr>
            <a:xfrm>
              <a:off x="4015596" y="156704"/>
              <a:ext cx="2032958" cy="1116000"/>
            </a:xfrm>
            <a:prstGeom prst="rect">
              <a:avLst/>
            </a:prstGeom>
            <a:solidFill>
              <a:srgbClr val="C3C3C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050" b="1" dirty="0"/>
                <a:t>Platz für Logo Vermittler</a:t>
              </a:r>
            </a:p>
          </p:txBody>
        </p:sp>
      </p:grpSp>
      <p:sp>
        <p:nvSpPr>
          <p:cNvPr id="17" name="Untertitel 2"/>
          <p:cNvSpPr>
            <a:spLocks noGrp="1"/>
          </p:cNvSpPr>
          <p:nvPr>
            <p:ph type="subTitle" idx="1"/>
          </p:nvPr>
        </p:nvSpPr>
        <p:spPr>
          <a:xfrm>
            <a:off x="1331973" y="3406252"/>
            <a:ext cx="6300000" cy="874011"/>
          </a:xfrm>
          <a:prstGeom prst="rect">
            <a:avLst/>
          </a:prstGeom>
        </p:spPr>
        <p:txBody>
          <a:bodyPr lIns="0" tIns="0" rIns="0" bIns="0" anchor="ctr"/>
          <a:lstStyle>
            <a:lvl1pPr marL="0" indent="0" algn="l">
              <a:lnSpc>
                <a:spcPts val="2100"/>
              </a:lnSpc>
              <a:buNone/>
              <a:defRPr sz="2000">
                <a:solidFill>
                  <a:schemeClr val="tx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Tree>
    <p:extLst>
      <p:ext uri="{BB962C8B-B14F-4D97-AF65-F5344CB8AC3E}">
        <p14:creationId xmlns:p14="http://schemas.microsoft.com/office/powerpoint/2010/main" val="35483574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Inhalt">
    <p:spTree>
      <p:nvGrpSpPr>
        <p:cNvPr id="1" name=""/>
        <p:cNvGrpSpPr/>
        <p:nvPr/>
      </p:nvGrpSpPr>
      <p:grpSpPr>
        <a:xfrm>
          <a:off x="0" y="0"/>
          <a:ext cx="0" cy="0"/>
          <a:chOff x="0" y="0"/>
          <a:chExt cx="0" cy="0"/>
        </a:xfrm>
      </p:grpSpPr>
      <p:sp>
        <p:nvSpPr>
          <p:cNvPr id="12" name="Rechteck 11"/>
          <p:cNvSpPr/>
          <p:nvPr userDrawn="1"/>
        </p:nvSpPr>
        <p:spPr>
          <a:xfrm>
            <a:off x="0" y="800708"/>
            <a:ext cx="9144000" cy="6057292"/>
          </a:xfrm>
          <a:prstGeom prst="rect">
            <a:avLst/>
          </a:prstGeom>
          <a:solidFill>
            <a:srgbClr val="F0F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1" name="Titel 10"/>
          <p:cNvSpPr>
            <a:spLocks noGrp="1"/>
          </p:cNvSpPr>
          <p:nvPr userDrawn="1">
            <p:ph type="title" hasCustomPrompt="1"/>
          </p:nvPr>
        </p:nvSpPr>
        <p:spPr>
          <a:xfrm>
            <a:off x="1439863" y="1733721"/>
            <a:ext cx="6282137" cy="500137"/>
          </a:xfrm>
        </p:spPr>
        <p:txBody>
          <a:bodyPr/>
          <a:lstStyle>
            <a:lvl1pPr marL="396000">
              <a:defRPr sz="3200"/>
            </a:lvl1pPr>
          </a:lstStyle>
          <a:p>
            <a:r>
              <a:rPr lang="de-DE" dirty="0"/>
              <a:t>Inhalt</a:t>
            </a:r>
          </a:p>
        </p:txBody>
      </p:sp>
      <p:sp>
        <p:nvSpPr>
          <p:cNvPr id="13" name="Textplatzhalter 12"/>
          <p:cNvSpPr>
            <a:spLocks noGrp="1"/>
          </p:cNvSpPr>
          <p:nvPr userDrawn="1">
            <p:ph type="body" sz="quarter" idx="17"/>
          </p:nvPr>
        </p:nvSpPr>
        <p:spPr>
          <a:xfrm>
            <a:off x="1439862" y="2600325"/>
            <a:ext cx="6282137" cy="3600450"/>
          </a:xfrm>
          <a:prstGeom prst="rect">
            <a:avLst/>
          </a:prstGeom>
        </p:spPr>
        <p:txBody>
          <a:bodyPr/>
          <a:lstStyle>
            <a:lvl1pPr marL="414000" indent="-414000">
              <a:spcBef>
                <a:spcPts val="1200"/>
              </a:spcBef>
              <a:buClr>
                <a:schemeClr val="tx2"/>
              </a:buClr>
              <a:buFont typeface="+mj-lt"/>
              <a:buAutoNum type="arabicPeriod"/>
              <a:defRPr sz="2000" b="0"/>
            </a:lvl1pPr>
          </a:lstStyle>
          <a:p>
            <a:pPr lvl="0"/>
            <a:endParaRPr lang="de-DE" dirty="0"/>
          </a:p>
        </p:txBody>
      </p:sp>
    </p:spTree>
    <p:extLst>
      <p:ext uri="{BB962C8B-B14F-4D97-AF65-F5344CB8AC3E}">
        <p14:creationId xmlns:p14="http://schemas.microsoft.com/office/powerpoint/2010/main" val="13378969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bschnitt (1zeilig)">
    <p:spTree>
      <p:nvGrpSpPr>
        <p:cNvPr id="1" name=""/>
        <p:cNvGrpSpPr/>
        <p:nvPr/>
      </p:nvGrpSpPr>
      <p:grpSpPr>
        <a:xfrm>
          <a:off x="0" y="0"/>
          <a:ext cx="0" cy="0"/>
          <a:chOff x="0" y="0"/>
          <a:chExt cx="0" cy="0"/>
        </a:xfrm>
      </p:grpSpPr>
      <p:sp>
        <p:nvSpPr>
          <p:cNvPr id="15" name="Rechteck 14"/>
          <p:cNvSpPr/>
          <p:nvPr userDrawn="1"/>
        </p:nvSpPr>
        <p:spPr>
          <a:xfrm>
            <a:off x="0" y="802216"/>
            <a:ext cx="9144000" cy="6057292"/>
          </a:xfrm>
          <a:prstGeom prst="rect">
            <a:avLst/>
          </a:prstGeom>
          <a:solidFill>
            <a:srgbClr val="F0F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5" name="Objekt 10"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7533" name="think-cell Folie" r:id="rId4" imgW="216" imgH="216" progId="TCLayout.ActiveDocument.1">
                  <p:embed/>
                </p:oleObj>
              </mc:Choice>
              <mc:Fallback>
                <p:oleObj name="think-cell Folie" r:id="rId4" imgW="216" imgH="216" progId="TCLayout.ActiveDocument.1">
                  <p:embed/>
                  <p:pic>
                    <p:nvPicPr>
                      <p:cNvPr id="5" name="Objekt 1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Abgerundetes Rechteck 24"/>
          <p:cNvSpPr/>
          <p:nvPr userDrawn="1"/>
        </p:nvSpPr>
        <p:spPr>
          <a:xfrm>
            <a:off x="647095" y="4840181"/>
            <a:ext cx="415347" cy="409710"/>
          </a:xfrm>
          <a:custGeom>
            <a:avLst/>
            <a:gdLst>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415087 w 415087"/>
              <a:gd name="connsiteY2" fmla="*/ 112132 h 414000"/>
              <a:gd name="connsiteX3" fmla="*/ 415087 w 415087"/>
              <a:gd name="connsiteY3" fmla="*/ 301868 h 414000"/>
              <a:gd name="connsiteX4" fmla="*/ 302955 w 415087"/>
              <a:gd name="connsiteY4" fmla="*/ 414000 h 414000"/>
              <a:gd name="connsiteX5" fmla="*/ 112132 w 415087"/>
              <a:gd name="connsiteY5" fmla="*/ 414000 h 414000"/>
              <a:gd name="connsiteX6" fmla="*/ 0 w 415087"/>
              <a:gd name="connsiteY6" fmla="*/ 301868 h 414000"/>
              <a:gd name="connsiteX7" fmla="*/ 0 w 415087"/>
              <a:gd name="connsiteY7" fmla="*/ 112132 h 414000"/>
              <a:gd name="connsiteX0" fmla="*/ 0 w 417243"/>
              <a:gd name="connsiteY0" fmla="*/ 112132 h 414000"/>
              <a:gd name="connsiteX1" fmla="*/ 112132 w 417243"/>
              <a:gd name="connsiteY1" fmla="*/ 0 h 414000"/>
              <a:gd name="connsiteX2" fmla="*/ 417243 w 417243"/>
              <a:gd name="connsiteY2" fmla="*/ 4301 h 414000"/>
              <a:gd name="connsiteX3" fmla="*/ 415087 w 417243"/>
              <a:gd name="connsiteY3" fmla="*/ 301868 h 414000"/>
              <a:gd name="connsiteX4" fmla="*/ 302955 w 417243"/>
              <a:gd name="connsiteY4" fmla="*/ 414000 h 414000"/>
              <a:gd name="connsiteX5" fmla="*/ 112132 w 417243"/>
              <a:gd name="connsiteY5" fmla="*/ 414000 h 414000"/>
              <a:gd name="connsiteX6" fmla="*/ 0 w 417243"/>
              <a:gd name="connsiteY6" fmla="*/ 301868 h 414000"/>
              <a:gd name="connsiteX7" fmla="*/ 0 w 417243"/>
              <a:gd name="connsiteY7" fmla="*/ 112132 h 414000"/>
              <a:gd name="connsiteX0" fmla="*/ 0 w 419399"/>
              <a:gd name="connsiteY0" fmla="*/ 112132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7" fmla="*/ 0 w 419399"/>
              <a:gd name="connsiteY7" fmla="*/ 112132 h 414000"/>
              <a:gd name="connsiteX0" fmla="*/ 0 w 419399"/>
              <a:gd name="connsiteY0" fmla="*/ 112135 h 414003"/>
              <a:gd name="connsiteX1" fmla="*/ 112132 w 419399"/>
              <a:gd name="connsiteY1" fmla="*/ 3 h 414003"/>
              <a:gd name="connsiteX2" fmla="*/ 419399 w 419399"/>
              <a:gd name="connsiteY2" fmla="*/ 2147 h 414003"/>
              <a:gd name="connsiteX3" fmla="*/ 415087 w 419399"/>
              <a:gd name="connsiteY3" fmla="*/ 301871 h 414003"/>
              <a:gd name="connsiteX4" fmla="*/ 302955 w 419399"/>
              <a:gd name="connsiteY4" fmla="*/ 414003 h 414003"/>
              <a:gd name="connsiteX5" fmla="*/ 112132 w 419399"/>
              <a:gd name="connsiteY5" fmla="*/ 414003 h 414003"/>
              <a:gd name="connsiteX6" fmla="*/ 0 w 419399"/>
              <a:gd name="connsiteY6" fmla="*/ 301871 h 414003"/>
              <a:gd name="connsiteX7" fmla="*/ 0 w 419399"/>
              <a:gd name="connsiteY7" fmla="*/ 112135 h 414003"/>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44516"/>
              <a:gd name="connsiteX1" fmla="*/ 112132 w 419399"/>
              <a:gd name="connsiteY1" fmla="*/ 0 h 444516"/>
              <a:gd name="connsiteX2" fmla="*/ 419399 w 419399"/>
              <a:gd name="connsiteY2" fmla="*/ 2144 h 444516"/>
              <a:gd name="connsiteX3" fmla="*/ 415087 w 419399"/>
              <a:gd name="connsiteY3" fmla="*/ 414011 h 444516"/>
              <a:gd name="connsiteX4" fmla="*/ 112132 w 419399"/>
              <a:gd name="connsiteY4" fmla="*/ 414000 h 444516"/>
              <a:gd name="connsiteX5" fmla="*/ 0 w 419399"/>
              <a:gd name="connsiteY5" fmla="*/ 301868 h 444516"/>
              <a:gd name="connsiteX0" fmla="*/ 0 w 419399"/>
              <a:gd name="connsiteY0" fmla="*/ 301868 h 414011"/>
              <a:gd name="connsiteX1" fmla="*/ 112132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4325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299724 h 411867"/>
              <a:gd name="connsiteX1" fmla="*/ 2146 w 419399"/>
              <a:gd name="connsiteY1" fmla="*/ 2169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301868 h 414011"/>
              <a:gd name="connsiteX1" fmla="*/ 2146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2170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5347"/>
              <a:gd name="connsiteY0" fmla="*/ 297567 h 409710"/>
              <a:gd name="connsiteX1" fmla="*/ 2146 w 415347"/>
              <a:gd name="connsiteY1" fmla="*/ 13 h 409710"/>
              <a:gd name="connsiteX2" fmla="*/ 412929 w 415347"/>
              <a:gd name="connsiteY2" fmla="*/ 0 h 409710"/>
              <a:gd name="connsiteX3" fmla="*/ 415087 w 415347"/>
              <a:gd name="connsiteY3" fmla="*/ 409710 h 409710"/>
              <a:gd name="connsiteX4" fmla="*/ 112132 w 415347"/>
              <a:gd name="connsiteY4" fmla="*/ 409699 h 409710"/>
              <a:gd name="connsiteX5" fmla="*/ 0 w 415347"/>
              <a:gd name="connsiteY5" fmla="*/ 297567 h 40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347" h="409710">
                <a:moveTo>
                  <a:pt x="0" y="297567"/>
                </a:moveTo>
                <a:cubicBezTo>
                  <a:pt x="715" y="199101"/>
                  <a:pt x="1431" y="98479"/>
                  <a:pt x="2146" y="13"/>
                </a:cubicBezTo>
                <a:lnTo>
                  <a:pt x="412929" y="0"/>
                </a:lnTo>
                <a:cubicBezTo>
                  <a:pt x="411492" y="137289"/>
                  <a:pt x="416524" y="272421"/>
                  <a:pt x="415087" y="409710"/>
                </a:cubicBezTo>
                <a:lnTo>
                  <a:pt x="112132" y="409699"/>
                </a:lnTo>
                <a:cubicBezTo>
                  <a:pt x="50203" y="409699"/>
                  <a:pt x="0" y="359496"/>
                  <a:pt x="0" y="297567"/>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de-DE" b="1" dirty="0"/>
          </a:p>
        </p:txBody>
      </p:sp>
      <p:sp>
        <p:nvSpPr>
          <p:cNvPr id="10" name="Textplatzhalter 6"/>
          <p:cNvSpPr>
            <a:spLocks noGrp="1"/>
          </p:cNvSpPr>
          <p:nvPr>
            <p:ph type="body" sz="quarter" idx="10"/>
          </p:nvPr>
        </p:nvSpPr>
        <p:spPr>
          <a:xfrm>
            <a:off x="648104" y="4840181"/>
            <a:ext cx="414338" cy="415925"/>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lvl1pPr algn="ctr">
              <a:defRPr lang="de-DE" dirty="0">
                <a:solidFill>
                  <a:schemeClr val="lt1"/>
                </a:solidFill>
              </a:defRPr>
            </a:lvl1pPr>
          </a:lstStyle>
          <a:p>
            <a:pPr lvl="0" algn="ctr">
              <a:spcBef>
                <a:spcPct val="0"/>
              </a:spcBef>
              <a:spcAft>
                <a:spcPct val="0"/>
              </a:spcAft>
            </a:pPr>
            <a:endParaRPr lang="de-DE" dirty="0"/>
          </a:p>
        </p:txBody>
      </p:sp>
      <p:sp>
        <p:nvSpPr>
          <p:cNvPr id="12" name="Abgerundetes Rechteck 18"/>
          <p:cNvSpPr/>
          <p:nvPr userDrawn="1"/>
        </p:nvSpPr>
        <p:spPr>
          <a:xfrm>
            <a:off x="1104814" y="4840181"/>
            <a:ext cx="6920249" cy="819192"/>
          </a:xfrm>
          <a:custGeom>
            <a:avLst/>
            <a:gdLst>
              <a:gd name="connsiteX0" fmla="*/ 0 w 6920249"/>
              <a:gd name="connsiteY0" fmla="*/ 136056 h 816317"/>
              <a:gd name="connsiteX1" fmla="*/ 136056 w 6920249"/>
              <a:gd name="connsiteY1" fmla="*/ 0 h 816317"/>
              <a:gd name="connsiteX2" fmla="*/ 6784193 w 6920249"/>
              <a:gd name="connsiteY2" fmla="*/ 0 h 816317"/>
              <a:gd name="connsiteX3" fmla="*/ 6920249 w 6920249"/>
              <a:gd name="connsiteY3" fmla="*/ 136056 h 816317"/>
              <a:gd name="connsiteX4" fmla="*/ 6920249 w 6920249"/>
              <a:gd name="connsiteY4" fmla="*/ 680261 h 816317"/>
              <a:gd name="connsiteX5" fmla="*/ 6784193 w 6920249"/>
              <a:gd name="connsiteY5" fmla="*/ 816317 h 816317"/>
              <a:gd name="connsiteX6" fmla="*/ 136056 w 6920249"/>
              <a:gd name="connsiteY6" fmla="*/ 816317 h 816317"/>
              <a:gd name="connsiteX7" fmla="*/ 0 w 6920249"/>
              <a:gd name="connsiteY7" fmla="*/ 680261 h 816317"/>
              <a:gd name="connsiteX8" fmla="*/ 0 w 6920249"/>
              <a:gd name="connsiteY8" fmla="*/ 136056 h 816317"/>
              <a:gd name="connsiteX0" fmla="*/ 0 w 6920249"/>
              <a:gd name="connsiteY0" fmla="*/ 680261 h 816317"/>
              <a:gd name="connsiteX1" fmla="*/ 136056 w 6920249"/>
              <a:gd name="connsiteY1" fmla="*/ 0 h 816317"/>
              <a:gd name="connsiteX2" fmla="*/ 6784193 w 6920249"/>
              <a:gd name="connsiteY2" fmla="*/ 0 h 816317"/>
              <a:gd name="connsiteX3" fmla="*/ 6920249 w 6920249"/>
              <a:gd name="connsiteY3" fmla="*/ 136056 h 816317"/>
              <a:gd name="connsiteX4" fmla="*/ 6920249 w 6920249"/>
              <a:gd name="connsiteY4" fmla="*/ 680261 h 816317"/>
              <a:gd name="connsiteX5" fmla="*/ 6784193 w 6920249"/>
              <a:gd name="connsiteY5" fmla="*/ 816317 h 816317"/>
              <a:gd name="connsiteX6" fmla="*/ 136056 w 6920249"/>
              <a:gd name="connsiteY6" fmla="*/ 816317 h 816317"/>
              <a:gd name="connsiteX7" fmla="*/ 0 w 6920249"/>
              <a:gd name="connsiteY7" fmla="*/ 680261 h 816317"/>
              <a:gd name="connsiteX0" fmla="*/ 0 w 6920249"/>
              <a:gd name="connsiteY0" fmla="*/ 683136 h 819192"/>
              <a:gd name="connsiteX1" fmla="*/ 6660 w 6920249"/>
              <a:gd name="connsiteY1" fmla="*/ 0 h 819192"/>
              <a:gd name="connsiteX2" fmla="*/ 6784193 w 6920249"/>
              <a:gd name="connsiteY2" fmla="*/ 2875 h 819192"/>
              <a:gd name="connsiteX3" fmla="*/ 6920249 w 6920249"/>
              <a:gd name="connsiteY3" fmla="*/ 138931 h 819192"/>
              <a:gd name="connsiteX4" fmla="*/ 6920249 w 6920249"/>
              <a:gd name="connsiteY4" fmla="*/ 683136 h 819192"/>
              <a:gd name="connsiteX5" fmla="*/ 6784193 w 6920249"/>
              <a:gd name="connsiteY5" fmla="*/ 819192 h 819192"/>
              <a:gd name="connsiteX6" fmla="*/ 136056 w 6920249"/>
              <a:gd name="connsiteY6" fmla="*/ 819192 h 819192"/>
              <a:gd name="connsiteX7" fmla="*/ 0 w 6920249"/>
              <a:gd name="connsiteY7" fmla="*/ 683136 h 819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20249" h="819192">
                <a:moveTo>
                  <a:pt x="0" y="683136"/>
                </a:moveTo>
                <a:lnTo>
                  <a:pt x="6660" y="0"/>
                </a:lnTo>
                <a:lnTo>
                  <a:pt x="6784193" y="2875"/>
                </a:lnTo>
                <a:cubicBezTo>
                  <a:pt x="6859335" y="2875"/>
                  <a:pt x="6920249" y="63789"/>
                  <a:pt x="6920249" y="138931"/>
                </a:cubicBezTo>
                <a:lnTo>
                  <a:pt x="6920249" y="683136"/>
                </a:lnTo>
                <a:cubicBezTo>
                  <a:pt x="6920249" y="758278"/>
                  <a:pt x="6859335" y="819192"/>
                  <a:pt x="6784193" y="819192"/>
                </a:cubicBezTo>
                <a:lnTo>
                  <a:pt x="136056" y="819192"/>
                </a:lnTo>
                <a:cubicBezTo>
                  <a:pt x="60914" y="819192"/>
                  <a:pt x="0" y="758278"/>
                  <a:pt x="0" y="683136"/>
                </a:cubicBezTo>
                <a:close/>
              </a:path>
            </a:pathLst>
          </a:custGeom>
          <a:solidFill>
            <a:schemeClr val="bg1">
              <a:alpha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Titel 12"/>
          <p:cNvSpPr>
            <a:spLocks noGrp="1"/>
          </p:cNvSpPr>
          <p:nvPr>
            <p:ph type="title"/>
          </p:nvPr>
        </p:nvSpPr>
        <p:spPr>
          <a:xfrm>
            <a:off x="1848668" y="4840181"/>
            <a:ext cx="5424419" cy="812016"/>
          </a:xfrm>
        </p:spPr>
        <p:txBody>
          <a:bodyPr anchor="ctr"/>
          <a:lstStyle>
            <a:lvl1pPr>
              <a:defRPr sz="2400"/>
            </a:lvl1pPr>
          </a:lstStyle>
          <a:p>
            <a:r>
              <a:rPr lang="de-DE" dirty="0"/>
              <a:t>Titelmasterformat durch Klicken bearbeiten</a:t>
            </a:r>
          </a:p>
        </p:txBody>
      </p:sp>
      <p:sp>
        <p:nvSpPr>
          <p:cNvPr id="14" name="Textfeld 13"/>
          <p:cNvSpPr txBox="1"/>
          <p:nvPr userDrawn="1"/>
        </p:nvSpPr>
        <p:spPr>
          <a:xfrm>
            <a:off x="0" y="0"/>
            <a:ext cx="6379200" cy="612000"/>
          </a:xfrm>
          <a:prstGeom prst="rect">
            <a:avLst/>
          </a:prstGeom>
          <a:solidFill>
            <a:schemeClr val="bg1"/>
          </a:solidFill>
        </p:spPr>
        <p:txBody>
          <a:bodyPr vert="horz" lIns="360000" tIns="45720" rIns="91440" bIns="45720" rtlCol="0" anchor="ctr"/>
          <a:lstStyle>
            <a:defPPr>
              <a:defRPr lang="de-DE"/>
            </a:defPPr>
            <a:lvl1pPr>
              <a:defRPr sz="1000" b="1">
                <a:solidFill>
                  <a:srgbClr val="000000"/>
                </a:solidFill>
              </a:defRPr>
            </a:lvl1pPr>
          </a:lstStyle>
          <a:p>
            <a:pPr lvl="0"/>
            <a:endParaRPr lang="de-DE" dirty="0"/>
          </a:p>
        </p:txBody>
      </p:sp>
    </p:spTree>
    <p:extLst>
      <p:ext uri="{BB962C8B-B14F-4D97-AF65-F5344CB8AC3E}">
        <p14:creationId xmlns:p14="http://schemas.microsoft.com/office/powerpoint/2010/main" val="377839541"/>
      </p:ext>
    </p:extLst>
  </p:cSld>
  <p:clrMapOvr>
    <a:masterClrMapping/>
  </p:clrMapOvr>
  <p:extLst>
    <p:ext uri="{DCECCB84-F9BA-43D5-87BE-67443E8EF086}">
      <p15:sldGuideLst xmlns:p15="http://schemas.microsoft.com/office/powerpoint/2012/main">
        <p15:guide id="1" orient="horz" pos="2160" userDrawn="1">
          <p15:clr>
            <a:srgbClr val="FBAE40"/>
          </p15:clr>
        </p15:guide>
        <p15:guide id="2" orient="horz" pos="3045"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bschnitt (2zeilig)">
    <p:spTree>
      <p:nvGrpSpPr>
        <p:cNvPr id="1" name=""/>
        <p:cNvGrpSpPr/>
        <p:nvPr/>
      </p:nvGrpSpPr>
      <p:grpSpPr>
        <a:xfrm>
          <a:off x="0" y="0"/>
          <a:ext cx="0" cy="0"/>
          <a:chOff x="0" y="0"/>
          <a:chExt cx="0" cy="0"/>
        </a:xfrm>
      </p:grpSpPr>
      <p:sp>
        <p:nvSpPr>
          <p:cNvPr id="15" name="Rechteck 14"/>
          <p:cNvSpPr/>
          <p:nvPr userDrawn="1"/>
        </p:nvSpPr>
        <p:spPr>
          <a:xfrm>
            <a:off x="0" y="802216"/>
            <a:ext cx="9144000" cy="6057292"/>
          </a:xfrm>
          <a:prstGeom prst="rect">
            <a:avLst/>
          </a:prstGeom>
          <a:solidFill>
            <a:srgbClr val="F0F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5" name="Objekt 10"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8556" name="think-cell Folie" r:id="rId4" imgW="216" imgH="216" progId="TCLayout.ActiveDocument.1">
                  <p:embed/>
                </p:oleObj>
              </mc:Choice>
              <mc:Fallback>
                <p:oleObj name="think-cell Folie" r:id="rId4" imgW="216" imgH="216" progId="TCLayout.ActiveDocument.1">
                  <p:embed/>
                  <p:pic>
                    <p:nvPicPr>
                      <p:cNvPr id="5" name="Objekt 1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Abgerundetes Rechteck 24"/>
          <p:cNvSpPr/>
          <p:nvPr userDrawn="1"/>
        </p:nvSpPr>
        <p:spPr>
          <a:xfrm>
            <a:off x="647095" y="4840181"/>
            <a:ext cx="415347" cy="409710"/>
          </a:xfrm>
          <a:custGeom>
            <a:avLst/>
            <a:gdLst>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415087 w 415087"/>
              <a:gd name="connsiteY2" fmla="*/ 112132 h 414000"/>
              <a:gd name="connsiteX3" fmla="*/ 415087 w 415087"/>
              <a:gd name="connsiteY3" fmla="*/ 301868 h 414000"/>
              <a:gd name="connsiteX4" fmla="*/ 302955 w 415087"/>
              <a:gd name="connsiteY4" fmla="*/ 414000 h 414000"/>
              <a:gd name="connsiteX5" fmla="*/ 112132 w 415087"/>
              <a:gd name="connsiteY5" fmla="*/ 414000 h 414000"/>
              <a:gd name="connsiteX6" fmla="*/ 0 w 415087"/>
              <a:gd name="connsiteY6" fmla="*/ 301868 h 414000"/>
              <a:gd name="connsiteX7" fmla="*/ 0 w 415087"/>
              <a:gd name="connsiteY7" fmla="*/ 112132 h 414000"/>
              <a:gd name="connsiteX0" fmla="*/ 0 w 417243"/>
              <a:gd name="connsiteY0" fmla="*/ 112132 h 414000"/>
              <a:gd name="connsiteX1" fmla="*/ 112132 w 417243"/>
              <a:gd name="connsiteY1" fmla="*/ 0 h 414000"/>
              <a:gd name="connsiteX2" fmla="*/ 417243 w 417243"/>
              <a:gd name="connsiteY2" fmla="*/ 4301 h 414000"/>
              <a:gd name="connsiteX3" fmla="*/ 415087 w 417243"/>
              <a:gd name="connsiteY3" fmla="*/ 301868 h 414000"/>
              <a:gd name="connsiteX4" fmla="*/ 302955 w 417243"/>
              <a:gd name="connsiteY4" fmla="*/ 414000 h 414000"/>
              <a:gd name="connsiteX5" fmla="*/ 112132 w 417243"/>
              <a:gd name="connsiteY5" fmla="*/ 414000 h 414000"/>
              <a:gd name="connsiteX6" fmla="*/ 0 w 417243"/>
              <a:gd name="connsiteY6" fmla="*/ 301868 h 414000"/>
              <a:gd name="connsiteX7" fmla="*/ 0 w 417243"/>
              <a:gd name="connsiteY7" fmla="*/ 112132 h 414000"/>
              <a:gd name="connsiteX0" fmla="*/ 0 w 419399"/>
              <a:gd name="connsiteY0" fmla="*/ 112132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7" fmla="*/ 0 w 419399"/>
              <a:gd name="connsiteY7" fmla="*/ 112132 h 414000"/>
              <a:gd name="connsiteX0" fmla="*/ 0 w 419399"/>
              <a:gd name="connsiteY0" fmla="*/ 112135 h 414003"/>
              <a:gd name="connsiteX1" fmla="*/ 112132 w 419399"/>
              <a:gd name="connsiteY1" fmla="*/ 3 h 414003"/>
              <a:gd name="connsiteX2" fmla="*/ 419399 w 419399"/>
              <a:gd name="connsiteY2" fmla="*/ 2147 h 414003"/>
              <a:gd name="connsiteX3" fmla="*/ 415087 w 419399"/>
              <a:gd name="connsiteY3" fmla="*/ 301871 h 414003"/>
              <a:gd name="connsiteX4" fmla="*/ 302955 w 419399"/>
              <a:gd name="connsiteY4" fmla="*/ 414003 h 414003"/>
              <a:gd name="connsiteX5" fmla="*/ 112132 w 419399"/>
              <a:gd name="connsiteY5" fmla="*/ 414003 h 414003"/>
              <a:gd name="connsiteX6" fmla="*/ 0 w 419399"/>
              <a:gd name="connsiteY6" fmla="*/ 301871 h 414003"/>
              <a:gd name="connsiteX7" fmla="*/ 0 w 419399"/>
              <a:gd name="connsiteY7" fmla="*/ 112135 h 414003"/>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44516"/>
              <a:gd name="connsiteX1" fmla="*/ 112132 w 419399"/>
              <a:gd name="connsiteY1" fmla="*/ 0 h 444516"/>
              <a:gd name="connsiteX2" fmla="*/ 419399 w 419399"/>
              <a:gd name="connsiteY2" fmla="*/ 2144 h 444516"/>
              <a:gd name="connsiteX3" fmla="*/ 415087 w 419399"/>
              <a:gd name="connsiteY3" fmla="*/ 414011 h 444516"/>
              <a:gd name="connsiteX4" fmla="*/ 112132 w 419399"/>
              <a:gd name="connsiteY4" fmla="*/ 414000 h 444516"/>
              <a:gd name="connsiteX5" fmla="*/ 0 w 419399"/>
              <a:gd name="connsiteY5" fmla="*/ 301868 h 444516"/>
              <a:gd name="connsiteX0" fmla="*/ 0 w 419399"/>
              <a:gd name="connsiteY0" fmla="*/ 301868 h 414011"/>
              <a:gd name="connsiteX1" fmla="*/ 112132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4325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299724 h 411867"/>
              <a:gd name="connsiteX1" fmla="*/ 2146 w 419399"/>
              <a:gd name="connsiteY1" fmla="*/ 2169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301868 h 414011"/>
              <a:gd name="connsiteX1" fmla="*/ 2146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2170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5347"/>
              <a:gd name="connsiteY0" fmla="*/ 297567 h 409710"/>
              <a:gd name="connsiteX1" fmla="*/ 2146 w 415347"/>
              <a:gd name="connsiteY1" fmla="*/ 13 h 409710"/>
              <a:gd name="connsiteX2" fmla="*/ 412929 w 415347"/>
              <a:gd name="connsiteY2" fmla="*/ 0 h 409710"/>
              <a:gd name="connsiteX3" fmla="*/ 415087 w 415347"/>
              <a:gd name="connsiteY3" fmla="*/ 409710 h 409710"/>
              <a:gd name="connsiteX4" fmla="*/ 112132 w 415347"/>
              <a:gd name="connsiteY4" fmla="*/ 409699 h 409710"/>
              <a:gd name="connsiteX5" fmla="*/ 0 w 415347"/>
              <a:gd name="connsiteY5" fmla="*/ 297567 h 40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347" h="409710">
                <a:moveTo>
                  <a:pt x="0" y="297567"/>
                </a:moveTo>
                <a:cubicBezTo>
                  <a:pt x="715" y="199101"/>
                  <a:pt x="1431" y="98479"/>
                  <a:pt x="2146" y="13"/>
                </a:cubicBezTo>
                <a:lnTo>
                  <a:pt x="412929" y="0"/>
                </a:lnTo>
                <a:cubicBezTo>
                  <a:pt x="411492" y="137289"/>
                  <a:pt x="416524" y="272421"/>
                  <a:pt x="415087" y="409710"/>
                </a:cubicBezTo>
                <a:lnTo>
                  <a:pt x="112132" y="409699"/>
                </a:lnTo>
                <a:cubicBezTo>
                  <a:pt x="50203" y="409699"/>
                  <a:pt x="0" y="359496"/>
                  <a:pt x="0" y="297567"/>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de-DE" b="1" dirty="0"/>
          </a:p>
        </p:txBody>
      </p:sp>
      <p:sp>
        <p:nvSpPr>
          <p:cNvPr id="11" name="Textplatzhalter 6"/>
          <p:cNvSpPr>
            <a:spLocks noGrp="1"/>
          </p:cNvSpPr>
          <p:nvPr>
            <p:ph type="body" sz="quarter" idx="10"/>
          </p:nvPr>
        </p:nvSpPr>
        <p:spPr>
          <a:xfrm>
            <a:off x="648104" y="4840181"/>
            <a:ext cx="414338" cy="415925"/>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lvl1pPr algn="ctr">
              <a:defRPr lang="de-DE" dirty="0">
                <a:solidFill>
                  <a:schemeClr val="lt1"/>
                </a:solidFill>
              </a:defRPr>
            </a:lvl1pPr>
          </a:lstStyle>
          <a:p>
            <a:pPr lvl="0" algn="ctr">
              <a:spcBef>
                <a:spcPct val="0"/>
              </a:spcBef>
              <a:spcAft>
                <a:spcPct val="0"/>
              </a:spcAft>
            </a:pPr>
            <a:endParaRPr lang="de-DE" dirty="0"/>
          </a:p>
        </p:txBody>
      </p:sp>
      <p:sp>
        <p:nvSpPr>
          <p:cNvPr id="12" name="Abgerundetes Rechteck 18"/>
          <p:cNvSpPr/>
          <p:nvPr userDrawn="1"/>
        </p:nvSpPr>
        <p:spPr>
          <a:xfrm>
            <a:off x="1099867" y="4840181"/>
            <a:ext cx="6925196" cy="1197499"/>
          </a:xfrm>
          <a:custGeom>
            <a:avLst/>
            <a:gdLst>
              <a:gd name="connsiteX0" fmla="*/ 0 w 6925196"/>
              <a:gd name="connsiteY0" fmla="*/ 199587 h 1197499"/>
              <a:gd name="connsiteX1" fmla="*/ 199587 w 6925196"/>
              <a:gd name="connsiteY1" fmla="*/ 0 h 1197499"/>
              <a:gd name="connsiteX2" fmla="*/ 6725609 w 6925196"/>
              <a:gd name="connsiteY2" fmla="*/ 0 h 1197499"/>
              <a:gd name="connsiteX3" fmla="*/ 6925196 w 6925196"/>
              <a:gd name="connsiteY3" fmla="*/ 199587 h 1197499"/>
              <a:gd name="connsiteX4" fmla="*/ 6925196 w 6925196"/>
              <a:gd name="connsiteY4" fmla="*/ 997912 h 1197499"/>
              <a:gd name="connsiteX5" fmla="*/ 6725609 w 6925196"/>
              <a:gd name="connsiteY5" fmla="*/ 1197499 h 1197499"/>
              <a:gd name="connsiteX6" fmla="*/ 199587 w 6925196"/>
              <a:gd name="connsiteY6" fmla="*/ 1197499 h 1197499"/>
              <a:gd name="connsiteX7" fmla="*/ 0 w 6925196"/>
              <a:gd name="connsiteY7" fmla="*/ 997912 h 1197499"/>
              <a:gd name="connsiteX8" fmla="*/ 0 w 6925196"/>
              <a:gd name="connsiteY8" fmla="*/ 199587 h 1197499"/>
              <a:gd name="connsiteX0" fmla="*/ 0 w 6925196"/>
              <a:gd name="connsiteY0" fmla="*/ 997912 h 1197499"/>
              <a:gd name="connsiteX1" fmla="*/ 199587 w 6925196"/>
              <a:gd name="connsiteY1" fmla="*/ 0 h 1197499"/>
              <a:gd name="connsiteX2" fmla="*/ 6725609 w 6925196"/>
              <a:gd name="connsiteY2" fmla="*/ 0 h 1197499"/>
              <a:gd name="connsiteX3" fmla="*/ 6925196 w 6925196"/>
              <a:gd name="connsiteY3" fmla="*/ 199587 h 1197499"/>
              <a:gd name="connsiteX4" fmla="*/ 6925196 w 6925196"/>
              <a:gd name="connsiteY4" fmla="*/ 997912 h 1197499"/>
              <a:gd name="connsiteX5" fmla="*/ 6725609 w 6925196"/>
              <a:gd name="connsiteY5" fmla="*/ 1197499 h 1197499"/>
              <a:gd name="connsiteX6" fmla="*/ 199587 w 6925196"/>
              <a:gd name="connsiteY6" fmla="*/ 1197499 h 1197499"/>
              <a:gd name="connsiteX7" fmla="*/ 0 w 6925196"/>
              <a:gd name="connsiteY7" fmla="*/ 997912 h 1197499"/>
              <a:gd name="connsiteX0" fmla="*/ 0 w 6925196"/>
              <a:gd name="connsiteY0" fmla="*/ 997912 h 1197499"/>
              <a:gd name="connsiteX1" fmla="*/ 1179 w 6925196"/>
              <a:gd name="connsiteY1" fmla="*/ 0 h 1197499"/>
              <a:gd name="connsiteX2" fmla="*/ 6725609 w 6925196"/>
              <a:gd name="connsiteY2" fmla="*/ 0 h 1197499"/>
              <a:gd name="connsiteX3" fmla="*/ 6925196 w 6925196"/>
              <a:gd name="connsiteY3" fmla="*/ 199587 h 1197499"/>
              <a:gd name="connsiteX4" fmla="*/ 6925196 w 6925196"/>
              <a:gd name="connsiteY4" fmla="*/ 997912 h 1197499"/>
              <a:gd name="connsiteX5" fmla="*/ 6725609 w 6925196"/>
              <a:gd name="connsiteY5" fmla="*/ 1197499 h 1197499"/>
              <a:gd name="connsiteX6" fmla="*/ 199587 w 6925196"/>
              <a:gd name="connsiteY6" fmla="*/ 1197499 h 1197499"/>
              <a:gd name="connsiteX7" fmla="*/ 0 w 6925196"/>
              <a:gd name="connsiteY7" fmla="*/ 997912 h 1197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25196" h="1197499">
                <a:moveTo>
                  <a:pt x="0" y="997912"/>
                </a:moveTo>
                <a:lnTo>
                  <a:pt x="1179" y="0"/>
                </a:lnTo>
                <a:lnTo>
                  <a:pt x="6725609" y="0"/>
                </a:lnTo>
                <a:cubicBezTo>
                  <a:pt x="6835838" y="0"/>
                  <a:pt x="6925196" y="89358"/>
                  <a:pt x="6925196" y="199587"/>
                </a:cubicBezTo>
                <a:lnTo>
                  <a:pt x="6925196" y="997912"/>
                </a:lnTo>
                <a:cubicBezTo>
                  <a:pt x="6925196" y="1108141"/>
                  <a:pt x="6835838" y="1197499"/>
                  <a:pt x="6725609" y="1197499"/>
                </a:cubicBezTo>
                <a:lnTo>
                  <a:pt x="199587" y="1197499"/>
                </a:lnTo>
                <a:cubicBezTo>
                  <a:pt x="89358" y="1197499"/>
                  <a:pt x="0" y="1108141"/>
                  <a:pt x="0" y="997912"/>
                </a:cubicBezTo>
                <a:close/>
              </a:path>
            </a:pathLst>
          </a:custGeom>
          <a:solidFill>
            <a:schemeClr val="bg1">
              <a:alpha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Titel 12"/>
          <p:cNvSpPr>
            <a:spLocks noGrp="1"/>
          </p:cNvSpPr>
          <p:nvPr>
            <p:ph type="title"/>
          </p:nvPr>
        </p:nvSpPr>
        <p:spPr>
          <a:xfrm>
            <a:off x="1848668" y="4840181"/>
            <a:ext cx="5424419" cy="1193198"/>
          </a:xfrm>
        </p:spPr>
        <p:txBody>
          <a:bodyPr anchor="ctr"/>
          <a:lstStyle>
            <a:lvl1pPr>
              <a:defRPr sz="2400"/>
            </a:lvl1pPr>
          </a:lstStyle>
          <a:p>
            <a:r>
              <a:rPr lang="de-DE" dirty="0"/>
              <a:t>Titelmasterformat durch Klicken bearbeiten</a:t>
            </a:r>
          </a:p>
        </p:txBody>
      </p:sp>
      <p:sp>
        <p:nvSpPr>
          <p:cNvPr id="14" name="Textfeld 13"/>
          <p:cNvSpPr txBox="1"/>
          <p:nvPr userDrawn="1"/>
        </p:nvSpPr>
        <p:spPr>
          <a:xfrm>
            <a:off x="0" y="0"/>
            <a:ext cx="6379200" cy="612000"/>
          </a:xfrm>
          <a:prstGeom prst="rect">
            <a:avLst/>
          </a:prstGeom>
          <a:solidFill>
            <a:schemeClr val="bg1"/>
          </a:solidFill>
        </p:spPr>
        <p:txBody>
          <a:bodyPr vert="horz" lIns="360000" tIns="45720" rIns="91440" bIns="45720" rtlCol="0" anchor="ctr"/>
          <a:lstStyle>
            <a:defPPr>
              <a:defRPr lang="de-DE"/>
            </a:defPPr>
            <a:lvl1pPr>
              <a:defRPr sz="1000" b="1">
                <a:solidFill>
                  <a:srgbClr val="000000"/>
                </a:solidFill>
              </a:defRPr>
            </a:lvl1pPr>
          </a:lstStyle>
          <a:p>
            <a:pPr lvl="0"/>
            <a:endParaRPr lang="de-DE" dirty="0"/>
          </a:p>
        </p:txBody>
      </p:sp>
    </p:spTree>
    <p:extLst>
      <p:ext uri="{BB962C8B-B14F-4D97-AF65-F5344CB8AC3E}">
        <p14:creationId xmlns:p14="http://schemas.microsoft.com/office/powerpoint/2010/main" val="3473293311"/>
      </p:ext>
    </p:extLst>
  </p:cSld>
  <p:clrMapOvr>
    <a:masterClrMapping/>
  </p:clrMapOvr>
  <p:extLst>
    <p:ext uri="{DCECCB84-F9BA-43D5-87BE-67443E8EF086}">
      <p15:sldGuideLst xmlns:p15="http://schemas.microsoft.com/office/powerpoint/2012/main">
        <p15:guide id="1" orient="horz" pos="2160">
          <p15:clr>
            <a:srgbClr val="FBAE40"/>
          </p15:clr>
        </p15:guide>
        <p15:guide id="2" orient="horz" pos="3045"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bschnitt (3zeilig)">
    <p:spTree>
      <p:nvGrpSpPr>
        <p:cNvPr id="1" name=""/>
        <p:cNvGrpSpPr/>
        <p:nvPr/>
      </p:nvGrpSpPr>
      <p:grpSpPr>
        <a:xfrm>
          <a:off x="0" y="0"/>
          <a:ext cx="0" cy="0"/>
          <a:chOff x="0" y="0"/>
          <a:chExt cx="0" cy="0"/>
        </a:xfrm>
      </p:grpSpPr>
      <p:sp>
        <p:nvSpPr>
          <p:cNvPr id="15" name="Rechteck 14"/>
          <p:cNvSpPr/>
          <p:nvPr userDrawn="1"/>
        </p:nvSpPr>
        <p:spPr>
          <a:xfrm>
            <a:off x="0" y="802216"/>
            <a:ext cx="9144000" cy="6057292"/>
          </a:xfrm>
          <a:prstGeom prst="rect">
            <a:avLst/>
          </a:prstGeom>
          <a:solidFill>
            <a:srgbClr val="F0F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5" name="Objekt 10"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9580" name="think-cell Folie" r:id="rId4" imgW="216" imgH="216" progId="TCLayout.ActiveDocument.1">
                  <p:embed/>
                </p:oleObj>
              </mc:Choice>
              <mc:Fallback>
                <p:oleObj name="think-cell Folie" r:id="rId4" imgW="216" imgH="216" progId="TCLayout.ActiveDocument.1">
                  <p:embed/>
                  <p:pic>
                    <p:nvPicPr>
                      <p:cNvPr id="5" name="Objekt 1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Abgerundetes Rechteck 24"/>
          <p:cNvSpPr/>
          <p:nvPr userDrawn="1"/>
        </p:nvSpPr>
        <p:spPr>
          <a:xfrm>
            <a:off x="647095" y="4840181"/>
            <a:ext cx="415347" cy="409710"/>
          </a:xfrm>
          <a:custGeom>
            <a:avLst/>
            <a:gdLst>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415087 w 415087"/>
              <a:gd name="connsiteY2" fmla="*/ 112132 h 414000"/>
              <a:gd name="connsiteX3" fmla="*/ 415087 w 415087"/>
              <a:gd name="connsiteY3" fmla="*/ 301868 h 414000"/>
              <a:gd name="connsiteX4" fmla="*/ 302955 w 415087"/>
              <a:gd name="connsiteY4" fmla="*/ 414000 h 414000"/>
              <a:gd name="connsiteX5" fmla="*/ 112132 w 415087"/>
              <a:gd name="connsiteY5" fmla="*/ 414000 h 414000"/>
              <a:gd name="connsiteX6" fmla="*/ 0 w 415087"/>
              <a:gd name="connsiteY6" fmla="*/ 301868 h 414000"/>
              <a:gd name="connsiteX7" fmla="*/ 0 w 415087"/>
              <a:gd name="connsiteY7" fmla="*/ 112132 h 414000"/>
              <a:gd name="connsiteX0" fmla="*/ 0 w 417243"/>
              <a:gd name="connsiteY0" fmla="*/ 112132 h 414000"/>
              <a:gd name="connsiteX1" fmla="*/ 112132 w 417243"/>
              <a:gd name="connsiteY1" fmla="*/ 0 h 414000"/>
              <a:gd name="connsiteX2" fmla="*/ 417243 w 417243"/>
              <a:gd name="connsiteY2" fmla="*/ 4301 h 414000"/>
              <a:gd name="connsiteX3" fmla="*/ 415087 w 417243"/>
              <a:gd name="connsiteY3" fmla="*/ 301868 h 414000"/>
              <a:gd name="connsiteX4" fmla="*/ 302955 w 417243"/>
              <a:gd name="connsiteY4" fmla="*/ 414000 h 414000"/>
              <a:gd name="connsiteX5" fmla="*/ 112132 w 417243"/>
              <a:gd name="connsiteY5" fmla="*/ 414000 h 414000"/>
              <a:gd name="connsiteX6" fmla="*/ 0 w 417243"/>
              <a:gd name="connsiteY6" fmla="*/ 301868 h 414000"/>
              <a:gd name="connsiteX7" fmla="*/ 0 w 417243"/>
              <a:gd name="connsiteY7" fmla="*/ 112132 h 414000"/>
              <a:gd name="connsiteX0" fmla="*/ 0 w 419399"/>
              <a:gd name="connsiteY0" fmla="*/ 112132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7" fmla="*/ 0 w 419399"/>
              <a:gd name="connsiteY7" fmla="*/ 112132 h 414000"/>
              <a:gd name="connsiteX0" fmla="*/ 0 w 419399"/>
              <a:gd name="connsiteY0" fmla="*/ 112135 h 414003"/>
              <a:gd name="connsiteX1" fmla="*/ 112132 w 419399"/>
              <a:gd name="connsiteY1" fmla="*/ 3 h 414003"/>
              <a:gd name="connsiteX2" fmla="*/ 419399 w 419399"/>
              <a:gd name="connsiteY2" fmla="*/ 2147 h 414003"/>
              <a:gd name="connsiteX3" fmla="*/ 415087 w 419399"/>
              <a:gd name="connsiteY3" fmla="*/ 301871 h 414003"/>
              <a:gd name="connsiteX4" fmla="*/ 302955 w 419399"/>
              <a:gd name="connsiteY4" fmla="*/ 414003 h 414003"/>
              <a:gd name="connsiteX5" fmla="*/ 112132 w 419399"/>
              <a:gd name="connsiteY5" fmla="*/ 414003 h 414003"/>
              <a:gd name="connsiteX6" fmla="*/ 0 w 419399"/>
              <a:gd name="connsiteY6" fmla="*/ 301871 h 414003"/>
              <a:gd name="connsiteX7" fmla="*/ 0 w 419399"/>
              <a:gd name="connsiteY7" fmla="*/ 112135 h 414003"/>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44516"/>
              <a:gd name="connsiteX1" fmla="*/ 112132 w 419399"/>
              <a:gd name="connsiteY1" fmla="*/ 0 h 444516"/>
              <a:gd name="connsiteX2" fmla="*/ 419399 w 419399"/>
              <a:gd name="connsiteY2" fmla="*/ 2144 h 444516"/>
              <a:gd name="connsiteX3" fmla="*/ 415087 w 419399"/>
              <a:gd name="connsiteY3" fmla="*/ 414011 h 444516"/>
              <a:gd name="connsiteX4" fmla="*/ 112132 w 419399"/>
              <a:gd name="connsiteY4" fmla="*/ 414000 h 444516"/>
              <a:gd name="connsiteX5" fmla="*/ 0 w 419399"/>
              <a:gd name="connsiteY5" fmla="*/ 301868 h 444516"/>
              <a:gd name="connsiteX0" fmla="*/ 0 w 419399"/>
              <a:gd name="connsiteY0" fmla="*/ 301868 h 414011"/>
              <a:gd name="connsiteX1" fmla="*/ 112132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4325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299724 h 411867"/>
              <a:gd name="connsiteX1" fmla="*/ 2146 w 419399"/>
              <a:gd name="connsiteY1" fmla="*/ 2169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301868 h 414011"/>
              <a:gd name="connsiteX1" fmla="*/ 2146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2170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5347"/>
              <a:gd name="connsiteY0" fmla="*/ 297567 h 409710"/>
              <a:gd name="connsiteX1" fmla="*/ 2146 w 415347"/>
              <a:gd name="connsiteY1" fmla="*/ 13 h 409710"/>
              <a:gd name="connsiteX2" fmla="*/ 412929 w 415347"/>
              <a:gd name="connsiteY2" fmla="*/ 0 h 409710"/>
              <a:gd name="connsiteX3" fmla="*/ 415087 w 415347"/>
              <a:gd name="connsiteY3" fmla="*/ 409710 h 409710"/>
              <a:gd name="connsiteX4" fmla="*/ 112132 w 415347"/>
              <a:gd name="connsiteY4" fmla="*/ 409699 h 409710"/>
              <a:gd name="connsiteX5" fmla="*/ 0 w 415347"/>
              <a:gd name="connsiteY5" fmla="*/ 297567 h 40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347" h="409710">
                <a:moveTo>
                  <a:pt x="0" y="297567"/>
                </a:moveTo>
                <a:cubicBezTo>
                  <a:pt x="715" y="199101"/>
                  <a:pt x="1431" y="98479"/>
                  <a:pt x="2146" y="13"/>
                </a:cubicBezTo>
                <a:lnTo>
                  <a:pt x="412929" y="0"/>
                </a:lnTo>
                <a:cubicBezTo>
                  <a:pt x="411492" y="137289"/>
                  <a:pt x="416524" y="272421"/>
                  <a:pt x="415087" y="409710"/>
                </a:cubicBezTo>
                <a:lnTo>
                  <a:pt x="112132" y="409699"/>
                </a:lnTo>
                <a:cubicBezTo>
                  <a:pt x="50203" y="409699"/>
                  <a:pt x="0" y="359496"/>
                  <a:pt x="0" y="297567"/>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de-DE" b="1" dirty="0"/>
          </a:p>
        </p:txBody>
      </p:sp>
      <p:sp>
        <p:nvSpPr>
          <p:cNvPr id="11" name="Textplatzhalter 6"/>
          <p:cNvSpPr>
            <a:spLocks noGrp="1"/>
          </p:cNvSpPr>
          <p:nvPr>
            <p:ph type="body" sz="quarter" idx="10"/>
          </p:nvPr>
        </p:nvSpPr>
        <p:spPr>
          <a:xfrm>
            <a:off x="648104" y="4840181"/>
            <a:ext cx="414338" cy="415925"/>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lvl1pPr algn="ctr">
              <a:defRPr lang="de-DE" dirty="0">
                <a:solidFill>
                  <a:schemeClr val="lt1"/>
                </a:solidFill>
              </a:defRPr>
            </a:lvl1pPr>
          </a:lstStyle>
          <a:p>
            <a:pPr lvl="0" algn="ctr">
              <a:spcBef>
                <a:spcPct val="0"/>
              </a:spcBef>
              <a:spcAft>
                <a:spcPct val="0"/>
              </a:spcAft>
            </a:pPr>
            <a:endParaRPr lang="de-DE" dirty="0"/>
          </a:p>
        </p:txBody>
      </p:sp>
      <p:sp>
        <p:nvSpPr>
          <p:cNvPr id="14" name="Abgerundetes Rechteck 18"/>
          <p:cNvSpPr/>
          <p:nvPr userDrawn="1"/>
        </p:nvSpPr>
        <p:spPr>
          <a:xfrm>
            <a:off x="1103506" y="4840181"/>
            <a:ext cx="6921557" cy="1604958"/>
          </a:xfrm>
          <a:custGeom>
            <a:avLst/>
            <a:gdLst>
              <a:gd name="connsiteX0" fmla="*/ 0 w 6921557"/>
              <a:gd name="connsiteY0" fmla="*/ 267498 h 1604958"/>
              <a:gd name="connsiteX1" fmla="*/ 267498 w 6921557"/>
              <a:gd name="connsiteY1" fmla="*/ 0 h 1604958"/>
              <a:gd name="connsiteX2" fmla="*/ 6654059 w 6921557"/>
              <a:gd name="connsiteY2" fmla="*/ 0 h 1604958"/>
              <a:gd name="connsiteX3" fmla="*/ 6921557 w 6921557"/>
              <a:gd name="connsiteY3" fmla="*/ 267498 h 1604958"/>
              <a:gd name="connsiteX4" fmla="*/ 6921557 w 6921557"/>
              <a:gd name="connsiteY4" fmla="*/ 1337460 h 1604958"/>
              <a:gd name="connsiteX5" fmla="*/ 6654059 w 6921557"/>
              <a:gd name="connsiteY5" fmla="*/ 1604958 h 1604958"/>
              <a:gd name="connsiteX6" fmla="*/ 267498 w 6921557"/>
              <a:gd name="connsiteY6" fmla="*/ 1604958 h 1604958"/>
              <a:gd name="connsiteX7" fmla="*/ 0 w 6921557"/>
              <a:gd name="connsiteY7" fmla="*/ 1337460 h 1604958"/>
              <a:gd name="connsiteX8" fmla="*/ 0 w 6921557"/>
              <a:gd name="connsiteY8" fmla="*/ 267498 h 1604958"/>
              <a:gd name="connsiteX0" fmla="*/ 0 w 6921557"/>
              <a:gd name="connsiteY0" fmla="*/ 1337460 h 1604958"/>
              <a:gd name="connsiteX1" fmla="*/ 267498 w 6921557"/>
              <a:gd name="connsiteY1" fmla="*/ 0 h 1604958"/>
              <a:gd name="connsiteX2" fmla="*/ 6654059 w 6921557"/>
              <a:gd name="connsiteY2" fmla="*/ 0 h 1604958"/>
              <a:gd name="connsiteX3" fmla="*/ 6921557 w 6921557"/>
              <a:gd name="connsiteY3" fmla="*/ 267498 h 1604958"/>
              <a:gd name="connsiteX4" fmla="*/ 6921557 w 6921557"/>
              <a:gd name="connsiteY4" fmla="*/ 1337460 h 1604958"/>
              <a:gd name="connsiteX5" fmla="*/ 6654059 w 6921557"/>
              <a:gd name="connsiteY5" fmla="*/ 1604958 h 1604958"/>
              <a:gd name="connsiteX6" fmla="*/ 267498 w 6921557"/>
              <a:gd name="connsiteY6" fmla="*/ 1604958 h 1604958"/>
              <a:gd name="connsiteX7" fmla="*/ 0 w 6921557"/>
              <a:gd name="connsiteY7" fmla="*/ 1337460 h 1604958"/>
              <a:gd name="connsiteX0" fmla="*/ 0 w 6921557"/>
              <a:gd name="connsiteY0" fmla="*/ 1337460 h 1604958"/>
              <a:gd name="connsiteX1" fmla="*/ 2954 w 6921557"/>
              <a:gd name="connsiteY1" fmla="*/ 0 h 1604958"/>
              <a:gd name="connsiteX2" fmla="*/ 6654059 w 6921557"/>
              <a:gd name="connsiteY2" fmla="*/ 0 h 1604958"/>
              <a:gd name="connsiteX3" fmla="*/ 6921557 w 6921557"/>
              <a:gd name="connsiteY3" fmla="*/ 267498 h 1604958"/>
              <a:gd name="connsiteX4" fmla="*/ 6921557 w 6921557"/>
              <a:gd name="connsiteY4" fmla="*/ 1337460 h 1604958"/>
              <a:gd name="connsiteX5" fmla="*/ 6654059 w 6921557"/>
              <a:gd name="connsiteY5" fmla="*/ 1604958 h 1604958"/>
              <a:gd name="connsiteX6" fmla="*/ 267498 w 6921557"/>
              <a:gd name="connsiteY6" fmla="*/ 1604958 h 1604958"/>
              <a:gd name="connsiteX7" fmla="*/ 0 w 6921557"/>
              <a:gd name="connsiteY7" fmla="*/ 1337460 h 1604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21557" h="1604958">
                <a:moveTo>
                  <a:pt x="0" y="1337460"/>
                </a:moveTo>
                <a:cubicBezTo>
                  <a:pt x="985" y="891640"/>
                  <a:pt x="1969" y="445820"/>
                  <a:pt x="2954" y="0"/>
                </a:cubicBezTo>
                <a:lnTo>
                  <a:pt x="6654059" y="0"/>
                </a:lnTo>
                <a:cubicBezTo>
                  <a:pt x="6801794" y="0"/>
                  <a:pt x="6921557" y="119763"/>
                  <a:pt x="6921557" y="267498"/>
                </a:cubicBezTo>
                <a:lnTo>
                  <a:pt x="6921557" y="1337460"/>
                </a:lnTo>
                <a:cubicBezTo>
                  <a:pt x="6921557" y="1485195"/>
                  <a:pt x="6801794" y="1604958"/>
                  <a:pt x="6654059" y="1604958"/>
                </a:cubicBezTo>
                <a:lnTo>
                  <a:pt x="267498" y="1604958"/>
                </a:lnTo>
                <a:cubicBezTo>
                  <a:pt x="119763" y="1604958"/>
                  <a:pt x="0" y="1485195"/>
                  <a:pt x="0" y="1337460"/>
                </a:cubicBezTo>
                <a:close/>
              </a:path>
            </a:pathLst>
          </a:custGeom>
          <a:solidFill>
            <a:schemeClr val="bg1">
              <a:alpha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Titel 12"/>
          <p:cNvSpPr>
            <a:spLocks noGrp="1"/>
          </p:cNvSpPr>
          <p:nvPr>
            <p:ph type="title"/>
          </p:nvPr>
        </p:nvSpPr>
        <p:spPr>
          <a:xfrm>
            <a:off x="1848668" y="4840181"/>
            <a:ext cx="5424419" cy="1600657"/>
          </a:xfrm>
        </p:spPr>
        <p:txBody>
          <a:bodyPr anchor="ctr"/>
          <a:lstStyle>
            <a:lvl1pPr>
              <a:defRPr sz="2400"/>
            </a:lvl1pPr>
          </a:lstStyle>
          <a:p>
            <a:r>
              <a:rPr lang="de-DE" dirty="0"/>
              <a:t>Titelmasterformat durch Klicken bearbeiten</a:t>
            </a:r>
          </a:p>
        </p:txBody>
      </p:sp>
      <p:sp>
        <p:nvSpPr>
          <p:cNvPr id="12" name="Textfeld 11"/>
          <p:cNvSpPr txBox="1"/>
          <p:nvPr userDrawn="1"/>
        </p:nvSpPr>
        <p:spPr>
          <a:xfrm>
            <a:off x="0" y="0"/>
            <a:ext cx="6379200" cy="612000"/>
          </a:xfrm>
          <a:prstGeom prst="rect">
            <a:avLst/>
          </a:prstGeom>
          <a:solidFill>
            <a:schemeClr val="bg1"/>
          </a:solidFill>
        </p:spPr>
        <p:txBody>
          <a:bodyPr vert="horz" lIns="360000" tIns="45720" rIns="91440" bIns="45720" rtlCol="0" anchor="ctr"/>
          <a:lstStyle>
            <a:defPPr>
              <a:defRPr lang="de-DE"/>
            </a:defPPr>
            <a:lvl1pPr>
              <a:defRPr sz="1000" b="1">
                <a:solidFill>
                  <a:srgbClr val="000000"/>
                </a:solidFill>
              </a:defRPr>
            </a:lvl1pPr>
          </a:lstStyle>
          <a:p>
            <a:pPr lvl="0"/>
            <a:endParaRPr lang="de-DE" dirty="0"/>
          </a:p>
        </p:txBody>
      </p:sp>
    </p:spTree>
    <p:extLst>
      <p:ext uri="{BB962C8B-B14F-4D97-AF65-F5344CB8AC3E}">
        <p14:creationId xmlns:p14="http://schemas.microsoft.com/office/powerpoint/2010/main" val="1344150064"/>
      </p:ext>
    </p:extLst>
  </p:cSld>
  <p:clrMapOvr>
    <a:masterClrMapping/>
  </p:clrMapOvr>
  <p:extLst>
    <p:ext uri="{DCECCB84-F9BA-43D5-87BE-67443E8EF086}">
      <p15:sldGuideLst xmlns:p15="http://schemas.microsoft.com/office/powerpoint/2012/main">
        <p15:guide id="1" orient="horz" pos="2160">
          <p15:clr>
            <a:srgbClr val="FBAE40"/>
          </p15:clr>
        </p15:guide>
        <p15:guide id="2" orient="horz" pos="3045"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16" name="Textplatzhalter 15"/>
          <p:cNvSpPr>
            <a:spLocks noGrp="1"/>
          </p:cNvSpPr>
          <p:nvPr>
            <p:ph type="body" sz="quarter" idx="18"/>
          </p:nvPr>
        </p:nvSpPr>
        <p:spPr>
          <a:xfrm>
            <a:off x="3176" y="224100"/>
            <a:ext cx="6535647" cy="576000"/>
          </a:xfrm>
          <a:prstGeom prst="rect">
            <a:avLst/>
          </a:prstGeom>
        </p:spPr>
        <p:txBody>
          <a:bodyPr vert="horz" lIns="360000" tIns="0" rIns="0" bIns="0" rtlCol="0" anchor="ctr"/>
          <a:lstStyle>
            <a:lvl1pPr>
              <a:defRPr lang="de-DE" sz="1000" b="0" smtClean="0">
                <a:solidFill>
                  <a:srgbClr val="000000"/>
                </a:solidFill>
                <a:latin typeface="Arial" panose="020B0604020202020204" pitchFamily="34" charset="0"/>
                <a:cs typeface="Arial" panose="020B0604020202020204" pitchFamily="34" charset="0"/>
              </a:defRPr>
            </a:lvl1pPr>
            <a:lvl2pPr>
              <a:defRPr lang="de-DE" smtClean="0">
                <a:latin typeface="Arial" panose="020B0604020202020204" pitchFamily="34" charset="0"/>
                <a:cs typeface="Arial" panose="020B0604020202020204" pitchFamily="34" charset="0"/>
              </a:defRPr>
            </a:lvl2pPr>
            <a:lvl3pPr>
              <a:defRPr lang="de-DE" smtClean="0">
                <a:latin typeface="Arial" panose="020B0604020202020204" pitchFamily="34" charset="0"/>
                <a:cs typeface="Arial" panose="020B0604020202020204" pitchFamily="34" charset="0"/>
              </a:defRPr>
            </a:lvl3pPr>
            <a:lvl4pPr>
              <a:defRPr lang="de-DE" smtClean="0">
                <a:latin typeface="Arial" panose="020B0604020202020204" pitchFamily="34" charset="0"/>
                <a:cs typeface="Arial" panose="020B0604020202020204" pitchFamily="34" charset="0"/>
              </a:defRPr>
            </a:lvl4pPr>
            <a:lvl5pPr>
              <a:defRPr lang="de-DE">
                <a:latin typeface="Arial" panose="020B0604020202020204" pitchFamily="34" charset="0"/>
                <a:cs typeface="Arial" panose="020B0604020202020204" pitchFamily="34" charset="0"/>
              </a:defRPr>
            </a:lvl5pPr>
          </a:lstStyle>
          <a:p>
            <a:pPr lvl="0">
              <a:spcBef>
                <a:spcPct val="0"/>
              </a:spcBef>
              <a:spcAft>
                <a:spcPct val="0"/>
              </a:spcAft>
            </a:pPr>
            <a:endParaRPr lang="de-DE" dirty="0"/>
          </a:p>
        </p:txBody>
      </p:sp>
      <p:sp>
        <p:nvSpPr>
          <p:cNvPr id="3" name="Datumsplatzhalter 2"/>
          <p:cNvSpPr>
            <a:spLocks noGrp="1"/>
          </p:cNvSpPr>
          <p:nvPr>
            <p:ph type="dt" sz="half" idx="19"/>
          </p:nvPr>
        </p:nvSpPr>
        <p:spPr/>
        <p:txBody>
          <a:bodyPr/>
          <a:lstStyle/>
          <a:p>
            <a:r>
              <a:rPr lang="de-DE"/>
              <a:t>01.01.2020</a:t>
            </a:r>
            <a:endParaRPr lang="de-DE" dirty="0"/>
          </a:p>
        </p:txBody>
      </p:sp>
      <p:sp>
        <p:nvSpPr>
          <p:cNvPr id="4" name="Fußzeilenplatzhalter 3"/>
          <p:cNvSpPr>
            <a:spLocks noGrp="1"/>
          </p:cNvSpPr>
          <p:nvPr>
            <p:ph type="ftr" sz="quarter" idx="20"/>
          </p:nvPr>
        </p:nvSpPr>
        <p:spPr/>
        <p:txBody>
          <a:bodyPr/>
          <a:lstStyle/>
          <a:p>
            <a:r>
              <a:rPr lang="de-DE"/>
              <a:t>Präsentation für Arbeitnehmer</a:t>
            </a:r>
            <a:endParaRPr lang="de-DE" dirty="0"/>
          </a:p>
        </p:txBody>
      </p:sp>
      <p:sp>
        <p:nvSpPr>
          <p:cNvPr id="5" name="Foliennummernplatzhalter 4"/>
          <p:cNvSpPr>
            <a:spLocks noGrp="1"/>
          </p:cNvSpPr>
          <p:nvPr>
            <p:ph type="sldNum" sz="quarter" idx="21"/>
          </p:nvPr>
        </p:nvSpPr>
        <p:spPr/>
        <p:txBody>
          <a:bodyPr/>
          <a:lstStyle/>
          <a:p>
            <a:fld id="{BFE8ADF1-837C-463F-9856-54C2D771B21B}" type="slidenum">
              <a:rPr lang="de-DE" smtClean="0"/>
              <a:pPr/>
              <a:t>‹Nr.›</a:t>
            </a:fld>
            <a:endParaRPr lang="de-DE" dirty="0"/>
          </a:p>
        </p:txBody>
      </p:sp>
    </p:spTree>
    <p:extLst>
      <p:ext uri="{BB962C8B-B14F-4D97-AF65-F5344CB8AC3E}">
        <p14:creationId xmlns:p14="http://schemas.microsoft.com/office/powerpoint/2010/main" val="251659661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11" name="Titel 10"/>
          <p:cNvSpPr>
            <a:spLocks noGrp="1"/>
          </p:cNvSpPr>
          <p:nvPr>
            <p:ph type="title"/>
          </p:nvPr>
        </p:nvSpPr>
        <p:spPr/>
        <p:txBody>
          <a:bodyPr/>
          <a:lstStyle/>
          <a:p>
            <a:r>
              <a:rPr lang="de-DE" dirty="0"/>
              <a:t>Titelmasterformat durch Klicken bearbeiten</a:t>
            </a:r>
          </a:p>
        </p:txBody>
      </p:sp>
      <p:sp>
        <p:nvSpPr>
          <p:cNvPr id="16" name="Textplatzhalter 15"/>
          <p:cNvSpPr>
            <a:spLocks noGrp="1"/>
          </p:cNvSpPr>
          <p:nvPr>
            <p:ph type="body" sz="quarter" idx="18"/>
          </p:nvPr>
        </p:nvSpPr>
        <p:spPr>
          <a:xfrm>
            <a:off x="3176" y="224100"/>
            <a:ext cx="6535647" cy="576000"/>
          </a:xfrm>
          <a:prstGeom prst="rect">
            <a:avLst/>
          </a:prstGeom>
        </p:spPr>
        <p:txBody>
          <a:bodyPr vert="horz" lIns="360000" tIns="0" rIns="0" bIns="0" rtlCol="0" anchor="ctr"/>
          <a:lstStyle>
            <a:lvl1pPr>
              <a:defRPr lang="de-DE" sz="1000" b="0" smtClean="0">
                <a:solidFill>
                  <a:srgbClr val="000000"/>
                </a:solidFill>
                <a:latin typeface="Arial" panose="020B0604020202020204" pitchFamily="34" charset="0"/>
                <a:cs typeface="Arial" panose="020B0604020202020204" pitchFamily="34" charset="0"/>
              </a:defRPr>
            </a:lvl1pPr>
            <a:lvl2pPr>
              <a:defRPr lang="de-DE" smtClean="0">
                <a:latin typeface="Arial" panose="020B0604020202020204" pitchFamily="34" charset="0"/>
                <a:cs typeface="Arial" panose="020B0604020202020204" pitchFamily="34" charset="0"/>
              </a:defRPr>
            </a:lvl2pPr>
            <a:lvl3pPr>
              <a:defRPr lang="de-DE" smtClean="0">
                <a:latin typeface="Arial" panose="020B0604020202020204" pitchFamily="34" charset="0"/>
                <a:cs typeface="Arial" panose="020B0604020202020204" pitchFamily="34" charset="0"/>
              </a:defRPr>
            </a:lvl3pPr>
            <a:lvl4pPr>
              <a:defRPr lang="de-DE" smtClean="0">
                <a:latin typeface="Arial" panose="020B0604020202020204" pitchFamily="34" charset="0"/>
                <a:cs typeface="Arial" panose="020B0604020202020204" pitchFamily="34" charset="0"/>
              </a:defRPr>
            </a:lvl4pPr>
            <a:lvl5pPr>
              <a:defRPr lang="de-DE">
                <a:latin typeface="Arial" panose="020B0604020202020204" pitchFamily="34" charset="0"/>
                <a:cs typeface="Arial" panose="020B0604020202020204" pitchFamily="34" charset="0"/>
              </a:defRPr>
            </a:lvl5pPr>
          </a:lstStyle>
          <a:p>
            <a:pPr lvl="0">
              <a:spcBef>
                <a:spcPct val="0"/>
              </a:spcBef>
              <a:spcAft>
                <a:spcPct val="0"/>
              </a:spcAft>
            </a:pPr>
            <a:endParaRPr lang="de-DE" dirty="0"/>
          </a:p>
        </p:txBody>
      </p:sp>
      <p:sp>
        <p:nvSpPr>
          <p:cNvPr id="3" name="Datumsplatzhalter 2"/>
          <p:cNvSpPr>
            <a:spLocks noGrp="1"/>
          </p:cNvSpPr>
          <p:nvPr>
            <p:ph type="dt" sz="half" idx="19"/>
          </p:nvPr>
        </p:nvSpPr>
        <p:spPr/>
        <p:txBody>
          <a:bodyPr/>
          <a:lstStyle/>
          <a:p>
            <a:r>
              <a:rPr lang="de-DE"/>
              <a:t>01.01.2020</a:t>
            </a:r>
            <a:endParaRPr lang="de-DE" dirty="0"/>
          </a:p>
        </p:txBody>
      </p:sp>
      <p:sp>
        <p:nvSpPr>
          <p:cNvPr id="4" name="Fußzeilenplatzhalter 3"/>
          <p:cNvSpPr>
            <a:spLocks noGrp="1"/>
          </p:cNvSpPr>
          <p:nvPr>
            <p:ph type="ftr" sz="quarter" idx="20"/>
          </p:nvPr>
        </p:nvSpPr>
        <p:spPr/>
        <p:txBody>
          <a:bodyPr/>
          <a:lstStyle/>
          <a:p>
            <a:r>
              <a:rPr lang="de-DE"/>
              <a:t>Präsentation für Arbeitnehmer</a:t>
            </a:r>
            <a:endParaRPr lang="de-DE" dirty="0"/>
          </a:p>
        </p:txBody>
      </p:sp>
      <p:sp>
        <p:nvSpPr>
          <p:cNvPr id="5" name="Foliennummernplatzhalter 4"/>
          <p:cNvSpPr>
            <a:spLocks noGrp="1"/>
          </p:cNvSpPr>
          <p:nvPr>
            <p:ph type="sldNum" sz="quarter" idx="21"/>
          </p:nvPr>
        </p:nvSpPr>
        <p:spPr/>
        <p:txBody>
          <a:bodyPr/>
          <a:lstStyle/>
          <a:p>
            <a:fld id="{BFE8ADF1-837C-463F-9856-54C2D771B21B}" type="slidenum">
              <a:rPr lang="de-DE" smtClean="0"/>
              <a:pPr/>
              <a:t>‹Nr.›</a:t>
            </a:fld>
            <a:endParaRPr lang="de-DE" dirty="0"/>
          </a:p>
        </p:txBody>
      </p:sp>
      <p:sp>
        <p:nvSpPr>
          <p:cNvPr id="12" name="Textplatzhalter 2"/>
          <p:cNvSpPr>
            <a:spLocks noGrp="1"/>
          </p:cNvSpPr>
          <p:nvPr>
            <p:ph type="body" sz="quarter" idx="23"/>
          </p:nvPr>
        </p:nvSpPr>
        <p:spPr>
          <a:xfrm>
            <a:off x="359808" y="6163610"/>
            <a:ext cx="8425416" cy="107722"/>
          </a:xfrm>
        </p:spPr>
        <p:txBody>
          <a:bodyPr lIns="0" tIns="0" rIns="0" bIns="0" anchor="b">
            <a:noAutofit/>
          </a:bodyPr>
          <a:lstStyle>
            <a:lvl1pPr>
              <a:defRPr kumimoji="0" lang="de-DE" sz="700" b="0" i="0" u="none" strike="noStrike" cap="none" spc="0" normalizeH="0" baseline="0" dirty="0">
                <a:ln>
                  <a:noFill/>
                </a:ln>
                <a:solidFill>
                  <a:prstClr val="white">
                    <a:lumMod val="50000"/>
                  </a:prstClr>
                </a:solidFill>
                <a:effectLst/>
                <a:uLnTx/>
                <a:uFillTx/>
                <a:latin typeface="Arial"/>
                <a:cs typeface="Arial" panose="020B0604020202020204" pitchFamily="34" charset="0"/>
              </a:defRPr>
            </a:lvl1pPr>
          </a:lstStyle>
          <a:p>
            <a:pPr marR="0" lvl="0" eaLnBrk="1" fontAlgn="auto" latinLnBrk="0" hangingPunct="1">
              <a:lnSpc>
                <a:spcPct val="100000"/>
              </a:lnSpc>
              <a:spcAft>
                <a:spcPts val="0"/>
              </a:spcAft>
              <a:buClrTx/>
              <a:buSzTx/>
              <a:buFontTx/>
              <a:buNone/>
              <a:tabLst/>
            </a:pPr>
            <a:r>
              <a:rPr lang="de-DE" dirty="0"/>
              <a:t>Formatvorlagen des Textmasters bearbeiten</a:t>
            </a:r>
          </a:p>
        </p:txBody>
      </p:sp>
    </p:spTree>
    <p:extLst>
      <p:ext uri="{BB962C8B-B14F-4D97-AF65-F5344CB8AC3E}">
        <p14:creationId xmlns:p14="http://schemas.microsoft.com/office/powerpoint/2010/main" val="271273305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3.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jpeg"/><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Rechteck 4"/>
          <p:cNvSpPr/>
          <p:nvPr userDrawn="1"/>
        </p:nvSpPr>
        <p:spPr>
          <a:xfrm>
            <a:off x="0" y="800708"/>
            <a:ext cx="9144000" cy="6057292"/>
          </a:xfrm>
          <a:prstGeom prst="rect">
            <a:avLst/>
          </a:prstGeom>
          <a:solidFill>
            <a:srgbClr val="F0F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Rechteck 12"/>
          <p:cNvSpPr/>
          <p:nvPr userDrawn="1"/>
        </p:nvSpPr>
        <p:spPr>
          <a:xfrm>
            <a:off x="0" y="6462000"/>
            <a:ext cx="9144000" cy="396000"/>
          </a:xfrm>
          <a:prstGeom prst="rect">
            <a:avLst/>
          </a:prstGeom>
          <a:solidFill>
            <a:srgbClr val="E1E1E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1026" name="Objekt 1" hidden="1"/>
          <p:cNvGraphicFramePr>
            <a:graphicFrameLocks noChangeAspect="1"/>
          </p:cNvGraphicFramePr>
          <p:nvPr userDrawn="1">
            <p:custDataLst>
              <p:tags r:id="rId20"/>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1" name="think-cell Folie" r:id="rId21" imgW="216" imgH="216" progId="TCLayout.ActiveDocument.1">
                  <p:embed/>
                </p:oleObj>
              </mc:Choice>
              <mc:Fallback>
                <p:oleObj name="think-cell Folie" r:id="rId21" imgW="216" imgH="216" progId="TCLayout.ActiveDocument.1">
                  <p:embed/>
                  <p:pic>
                    <p:nvPicPr>
                      <p:cNvPr id="0" name="Objekt 1" hidden="1"/>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8" name="Titelplatzhalter 1"/>
          <p:cNvSpPr>
            <a:spLocks noGrp="1"/>
          </p:cNvSpPr>
          <p:nvPr userDrawn="1">
            <p:ph type="title"/>
          </p:nvPr>
        </p:nvSpPr>
        <p:spPr bwMode="auto">
          <a:xfrm>
            <a:off x="358775" y="1042814"/>
            <a:ext cx="8426450" cy="500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endParaRPr lang="de-DE" altLang="de-DE" dirty="0"/>
          </a:p>
        </p:txBody>
      </p:sp>
      <p:sp>
        <p:nvSpPr>
          <p:cNvPr id="7" name="Datumsplatzhalter 6"/>
          <p:cNvSpPr>
            <a:spLocks noGrp="1"/>
          </p:cNvSpPr>
          <p:nvPr userDrawn="1">
            <p:ph type="dt" sz="half" idx="2"/>
          </p:nvPr>
        </p:nvSpPr>
        <p:spPr>
          <a:xfrm>
            <a:off x="0" y="6462000"/>
            <a:ext cx="1115616" cy="396000"/>
          </a:xfrm>
          <a:prstGeom prst="rect">
            <a:avLst/>
          </a:prstGeom>
        </p:spPr>
        <p:txBody>
          <a:bodyPr vert="horz" lIns="360000" tIns="45720" rIns="91440" bIns="45720" rtlCol="0" anchor="ctr"/>
          <a:lstStyle>
            <a:lvl1pPr algn="l">
              <a:defRPr sz="1000" b="1">
                <a:solidFill>
                  <a:srgbClr val="646464"/>
                </a:solidFill>
              </a:defRPr>
            </a:lvl1pPr>
          </a:lstStyle>
          <a:p>
            <a:r>
              <a:rPr lang="de-DE"/>
              <a:t>01.01.2020</a:t>
            </a:r>
            <a:endParaRPr lang="de-DE" dirty="0"/>
          </a:p>
        </p:txBody>
      </p:sp>
      <p:sp>
        <p:nvSpPr>
          <p:cNvPr id="9" name="Foliennummernplatzhalter 8"/>
          <p:cNvSpPr>
            <a:spLocks noGrp="1"/>
          </p:cNvSpPr>
          <p:nvPr userDrawn="1">
            <p:ph type="sldNum" sz="quarter" idx="4"/>
          </p:nvPr>
        </p:nvSpPr>
        <p:spPr>
          <a:xfrm>
            <a:off x="8280412" y="6462000"/>
            <a:ext cx="863588" cy="396000"/>
          </a:xfrm>
          <a:prstGeom prst="rect">
            <a:avLst/>
          </a:prstGeom>
        </p:spPr>
        <p:txBody>
          <a:bodyPr vert="horz" lIns="91440" tIns="45720" rIns="360000" bIns="45720" rtlCol="0" anchor="ctr"/>
          <a:lstStyle>
            <a:lvl1pPr algn="r">
              <a:defRPr sz="1000">
                <a:solidFill>
                  <a:srgbClr val="646464"/>
                </a:solidFill>
              </a:defRPr>
            </a:lvl1pPr>
          </a:lstStyle>
          <a:p>
            <a:fld id="{BFE8ADF1-837C-463F-9856-54C2D771B21B}" type="slidenum">
              <a:rPr lang="de-DE" smtClean="0"/>
              <a:pPr/>
              <a:t>‹Nr.›</a:t>
            </a:fld>
            <a:endParaRPr lang="de-DE" dirty="0"/>
          </a:p>
        </p:txBody>
      </p:sp>
      <p:sp>
        <p:nvSpPr>
          <p:cNvPr id="19" name="Datumsplatzhalter 6"/>
          <p:cNvSpPr txBox="1">
            <a:spLocks/>
          </p:cNvSpPr>
          <p:nvPr userDrawn="1"/>
        </p:nvSpPr>
        <p:spPr>
          <a:xfrm>
            <a:off x="1144099" y="6462000"/>
            <a:ext cx="2215705" cy="396000"/>
          </a:xfrm>
          <a:prstGeom prst="rect">
            <a:avLst/>
          </a:prstGeom>
        </p:spPr>
        <p:txBody>
          <a:bodyPr vert="horz" lIns="0" tIns="0" rIns="0" bIns="0" rtlCol="0" anchor="ctr"/>
          <a:lstStyle>
            <a:defPPr>
              <a:defRPr lang="de-DE"/>
            </a:defPPr>
            <a:lvl1pPr algn="l" defTabSz="457200" rtl="0" eaLnBrk="0" fontAlgn="base" hangingPunct="0">
              <a:spcBef>
                <a:spcPct val="0"/>
              </a:spcBef>
              <a:spcAft>
                <a:spcPct val="0"/>
              </a:spcAft>
              <a:defRPr sz="1000" b="1" kern="1200">
                <a:solidFill>
                  <a:srgbClr val="646464"/>
                </a:solidFill>
                <a:latin typeface="Arial" panose="020B0604020202020204" pitchFamily="34" charset="0"/>
                <a:ea typeface="+mn-ea"/>
                <a:cs typeface="Arial" panose="020B0604020202020204" pitchFamily="34" charset="0"/>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l"/>
            <a:r>
              <a:rPr lang="de-DE" b="0" dirty="0"/>
              <a:t>|    Name des Vermittlers</a:t>
            </a:r>
          </a:p>
        </p:txBody>
      </p:sp>
      <p:sp>
        <p:nvSpPr>
          <p:cNvPr id="20" name="Datumsplatzhalter 6"/>
          <p:cNvSpPr txBox="1">
            <a:spLocks/>
          </p:cNvSpPr>
          <p:nvPr userDrawn="1"/>
        </p:nvSpPr>
        <p:spPr>
          <a:xfrm>
            <a:off x="6292855" y="6462000"/>
            <a:ext cx="2215705" cy="396000"/>
          </a:xfrm>
          <a:prstGeom prst="rect">
            <a:avLst/>
          </a:prstGeom>
        </p:spPr>
        <p:txBody>
          <a:bodyPr vert="horz" lIns="0" tIns="0" rIns="0" bIns="0" rtlCol="0" anchor="ctr"/>
          <a:lstStyle>
            <a:defPPr>
              <a:defRPr lang="de-DE"/>
            </a:defPPr>
            <a:lvl1pPr algn="l" defTabSz="457200" rtl="0" eaLnBrk="0" fontAlgn="base" hangingPunct="0">
              <a:spcBef>
                <a:spcPct val="0"/>
              </a:spcBef>
              <a:spcAft>
                <a:spcPct val="0"/>
              </a:spcAft>
              <a:defRPr sz="1000" b="1" kern="1200">
                <a:solidFill>
                  <a:srgbClr val="646464"/>
                </a:solidFill>
                <a:latin typeface="Arial" panose="020B0604020202020204" pitchFamily="34" charset="0"/>
                <a:ea typeface="+mn-ea"/>
                <a:cs typeface="Arial" panose="020B0604020202020204" pitchFamily="34" charset="0"/>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r"/>
            <a:r>
              <a:rPr lang="de-DE" b="1" dirty="0">
                <a:solidFill>
                  <a:schemeClr val="accent2"/>
                </a:solidFill>
              </a:rPr>
              <a:t>&lt;  Übersicht</a:t>
            </a:r>
            <a:r>
              <a:rPr lang="de-DE" b="0" dirty="0"/>
              <a:t>    | </a:t>
            </a:r>
          </a:p>
        </p:txBody>
      </p:sp>
      <p:pic>
        <p:nvPicPr>
          <p:cNvPr id="23" name="Grafik 22"/>
          <p:cNvPicPr>
            <a:picLocks noChangeAspect="1"/>
          </p:cNvPicPr>
          <p:nvPr userDrawn="1"/>
        </p:nvPicPr>
        <p:blipFill>
          <a:blip r:embed="rId23" cstate="print">
            <a:extLst>
              <a:ext uri="{28A0092B-C50C-407E-A947-70E740481C1C}">
                <a14:useLocalDpi xmlns:a14="http://schemas.microsoft.com/office/drawing/2010/main" val="0"/>
              </a:ext>
            </a:extLst>
          </a:blip>
          <a:stretch>
            <a:fillRect/>
          </a:stretch>
        </p:blipFill>
        <p:spPr>
          <a:xfrm>
            <a:off x="6770566" y="185466"/>
            <a:ext cx="2016000" cy="427206"/>
          </a:xfrm>
          <a:prstGeom prst="rect">
            <a:avLst/>
          </a:prstGeom>
        </p:spPr>
      </p:pic>
      <p:sp>
        <p:nvSpPr>
          <p:cNvPr id="4" name="Textplatzhalter 3"/>
          <p:cNvSpPr>
            <a:spLocks noGrp="1"/>
          </p:cNvSpPr>
          <p:nvPr userDrawn="1">
            <p:ph type="body" idx="1"/>
          </p:nvPr>
        </p:nvSpPr>
        <p:spPr>
          <a:xfrm>
            <a:off x="358775" y="2087563"/>
            <a:ext cx="8427791" cy="4113212"/>
          </a:xfrm>
          <a:prstGeom prst="rect">
            <a:avLst/>
          </a:prstGeom>
        </p:spPr>
        <p:txBody>
          <a:bodyPr vert="horz" lIns="0" tIns="0" rIns="0" bIns="0" rtlCol="0">
            <a:normAutofit/>
          </a:body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p:txBody>
      </p:sp>
      <p:sp>
        <p:nvSpPr>
          <p:cNvPr id="6" name="Textfeld 5"/>
          <p:cNvSpPr txBox="1"/>
          <p:nvPr userDrawn="1"/>
        </p:nvSpPr>
        <p:spPr>
          <a:xfrm>
            <a:off x="0" y="0"/>
            <a:ext cx="6379200" cy="612000"/>
          </a:xfrm>
          <a:prstGeom prst="rect">
            <a:avLst/>
          </a:prstGeom>
        </p:spPr>
        <p:txBody>
          <a:bodyPr vert="horz" lIns="360000" tIns="45720" rIns="91440" bIns="45720" rtlCol="0" anchor="ctr"/>
          <a:lstStyle>
            <a:defPPr>
              <a:defRPr lang="de-DE"/>
            </a:defPPr>
            <a:lvl1pPr>
              <a:defRPr sz="1000" b="1">
                <a:solidFill>
                  <a:srgbClr val="000000"/>
                </a:solidFill>
              </a:defRPr>
            </a:lvl1pPr>
          </a:lstStyle>
          <a:p>
            <a:pPr lvl="0"/>
            <a:r>
              <a:rPr lang="de-DE" dirty="0"/>
              <a:t>Präsentation für Arbeitnehmer</a:t>
            </a:r>
          </a:p>
        </p:txBody>
      </p:sp>
      <p:sp>
        <p:nvSpPr>
          <p:cNvPr id="10" name="Textfeld 9"/>
          <p:cNvSpPr txBox="1"/>
          <p:nvPr userDrawn="1"/>
        </p:nvSpPr>
        <p:spPr>
          <a:xfrm>
            <a:off x="-1564105" y="992605"/>
            <a:ext cx="1161047" cy="776037"/>
          </a:xfrm>
          <a:prstGeom prst="rect">
            <a:avLst/>
          </a:prstGeom>
          <a:noFill/>
        </p:spPr>
        <p:txBody>
          <a:bodyPr wrap="square" lIns="0" tIns="0" rIns="0" bIns="0" rtlCol="0">
            <a:noAutofit/>
          </a:bodyPr>
          <a:lstStyle/>
          <a:p>
            <a:endParaRPr lang="de-DE" dirty="0"/>
          </a:p>
        </p:txBody>
      </p:sp>
      <p:sp>
        <p:nvSpPr>
          <p:cNvPr id="2" name="Fußzeilenplatzhalter 1"/>
          <p:cNvSpPr>
            <a:spLocks noGrp="1"/>
          </p:cNvSpPr>
          <p:nvPr>
            <p:ph type="ftr" sz="quarter" idx="3"/>
          </p:nvPr>
        </p:nvSpPr>
        <p:spPr>
          <a:xfrm>
            <a:off x="2683042" y="6461999"/>
            <a:ext cx="3777916" cy="396000"/>
          </a:xfrm>
          <a:prstGeom prst="rect">
            <a:avLst/>
          </a:prstGeom>
        </p:spPr>
        <p:txBody>
          <a:bodyPr vert="horz" lIns="0" tIns="0" rIns="0" bIns="0" rtlCol="0" anchor="ctr"/>
          <a:lstStyle>
            <a:lvl1pPr algn="ctr">
              <a:defRPr lang="de-DE" sz="1000" b="0">
                <a:solidFill>
                  <a:srgbClr val="646464"/>
                </a:solidFill>
              </a:defRPr>
            </a:lvl1pPr>
          </a:lstStyle>
          <a:p>
            <a:r>
              <a:rPr lang="de-DE"/>
              <a:t>Präsentation für Arbeitnehmer</a:t>
            </a:r>
            <a:endParaRPr lang="de-DE" dirty="0"/>
          </a:p>
        </p:txBody>
      </p:sp>
      <p:sp>
        <p:nvSpPr>
          <p:cNvPr id="3" name="Rechteck 2"/>
          <p:cNvSpPr/>
          <p:nvPr userDrawn="1"/>
        </p:nvSpPr>
        <p:spPr>
          <a:xfrm>
            <a:off x="6770566" y="185466"/>
            <a:ext cx="2014659" cy="427206"/>
          </a:xfrm>
          <a:prstGeom prst="rect">
            <a:avLst/>
          </a:prstGeom>
          <a:solidFill>
            <a:srgbClr val="C3C3C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r>
              <a:rPr lang="de-DE" sz="1050" b="1" dirty="0"/>
              <a:t>Platz für Logo Vermittler</a:t>
            </a:r>
          </a:p>
        </p:txBody>
      </p:sp>
    </p:spTree>
  </p:cSld>
  <p:clrMap bg1="lt1" tx1="dk1" bg2="lt2" tx2="dk2" accent1="accent1" accent2="accent2" accent3="accent3" accent4="accent4" accent5="accent5" accent6="accent6" hlink="hlink" folHlink="folHlink"/>
  <p:sldLayoutIdLst>
    <p:sldLayoutId id="2147484274" r:id="rId1"/>
    <p:sldLayoutId id="2147484292" r:id="rId2"/>
    <p:sldLayoutId id="2147484293" r:id="rId3"/>
    <p:sldLayoutId id="2147484295" r:id="rId4"/>
    <p:sldLayoutId id="2147484314" r:id="rId5"/>
    <p:sldLayoutId id="2147484315" r:id="rId6"/>
    <p:sldLayoutId id="2147484316" r:id="rId7"/>
    <p:sldLayoutId id="2147484300" r:id="rId8"/>
    <p:sldLayoutId id="2147484301" r:id="rId9"/>
    <p:sldLayoutId id="2147484294" r:id="rId10"/>
    <p:sldLayoutId id="2147484299" r:id="rId11"/>
    <p:sldLayoutId id="2147484307" r:id="rId12"/>
    <p:sldLayoutId id="2147484306" r:id="rId13"/>
    <p:sldLayoutId id="2147484298" r:id="rId14"/>
    <p:sldLayoutId id="2147484305" r:id="rId15"/>
    <p:sldLayoutId id="2147484302" r:id="rId16"/>
    <p:sldLayoutId id="2147484326" r:id="rId17"/>
  </p:sldLayoutIdLst>
  <p:hf hdr="0"/>
  <p:txStyles>
    <p:titleStyle>
      <a:lvl1pPr algn="l" defTabSz="457200" rtl="0" eaLnBrk="0" fontAlgn="base" hangingPunct="0">
        <a:lnSpc>
          <a:spcPct val="100000"/>
        </a:lnSpc>
        <a:spcBef>
          <a:spcPct val="0"/>
        </a:spcBef>
        <a:spcAft>
          <a:spcPct val="0"/>
        </a:spcAft>
        <a:defRPr lang="de-DE" sz="2600" b="1" kern="1200" dirty="0">
          <a:solidFill>
            <a:schemeClr val="tx2"/>
          </a:solidFill>
          <a:latin typeface="+mj-lt"/>
          <a:ea typeface="+mj-ea"/>
          <a:cs typeface="+mj-cs"/>
        </a:defRPr>
      </a:lvl1pPr>
      <a:lvl2pPr algn="l" defTabSz="457200" rtl="0" eaLnBrk="0" fontAlgn="base" hangingPunct="0">
        <a:lnSpc>
          <a:spcPts val="3900"/>
        </a:lnSpc>
        <a:spcBef>
          <a:spcPct val="0"/>
        </a:spcBef>
        <a:spcAft>
          <a:spcPct val="0"/>
        </a:spcAft>
        <a:defRPr sz="2500" b="1">
          <a:solidFill>
            <a:schemeClr val="tx2"/>
          </a:solidFill>
          <a:latin typeface="Arial" pitchFamily="34" charset="0"/>
        </a:defRPr>
      </a:lvl2pPr>
      <a:lvl3pPr algn="l" defTabSz="457200" rtl="0" eaLnBrk="0" fontAlgn="base" hangingPunct="0">
        <a:lnSpc>
          <a:spcPts val="3900"/>
        </a:lnSpc>
        <a:spcBef>
          <a:spcPct val="0"/>
        </a:spcBef>
        <a:spcAft>
          <a:spcPct val="0"/>
        </a:spcAft>
        <a:defRPr sz="2500" b="1">
          <a:solidFill>
            <a:schemeClr val="tx2"/>
          </a:solidFill>
          <a:latin typeface="Arial" pitchFamily="34" charset="0"/>
        </a:defRPr>
      </a:lvl3pPr>
      <a:lvl4pPr algn="l" defTabSz="457200" rtl="0" eaLnBrk="0" fontAlgn="base" hangingPunct="0">
        <a:lnSpc>
          <a:spcPts val="3900"/>
        </a:lnSpc>
        <a:spcBef>
          <a:spcPct val="0"/>
        </a:spcBef>
        <a:spcAft>
          <a:spcPct val="0"/>
        </a:spcAft>
        <a:defRPr sz="2500" b="1">
          <a:solidFill>
            <a:schemeClr val="tx2"/>
          </a:solidFill>
          <a:latin typeface="Arial" pitchFamily="34" charset="0"/>
        </a:defRPr>
      </a:lvl4pPr>
      <a:lvl5pPr algn="l" defTabSz="457200" rtl="0" eaLnBrk="0" fontAlgn="base" hangingPunct="0">
        <a:lnSpc>
          <a:spcPts val="3900"/>
        </a:lnSpc>
        <a:spcBef>
          <a:spcPct val="0"/>
        </a:spcBef>
        <a:spcAft>
          <a:spcPct val="0"/>
        </a:spcAft>
        <a:defRPr sz="2500" b="1">
          <a:solidFill>
            <a:schemeClr val="tx2"/>
          </a:solidFill>
          <a:latin typeface="Arial" pitchFamily="34" charset="0"/>
        </a:defRPr>
      </a:lvl5pPr>
      <a:lvl6pPr marL="457200" algn="l" defTabSz="457200" rtl="0" fontAlgn="base">
        <a:lnSpc>
          <a:spcPts val="3900"/>
        </a:lnSpc>
        <a:spcBef>
          <a:spcPct val="0"/>
        </a:spcBef>
        <a:spcAft>
          <a:spcPct val="0"/>
        </a:spcAft>
        <a:defRPr sz="2500" b="1">
          <a:solidFill>
            <a:schemeClr val="tx2"/>
          </a:solidFill>
          <a:latin typeface="Arial" pitchFamily="34" charset="0"/>
        </a:defRPr>
      </a:lvl6pPr>
      <a:lvl7pPr marL="914400" algn="l" defTabSz="457200" rtl="0" fontAlgn="base">
        <a:lnSpc>
          <a:spcPts val="3900"/>
        </a:lnSpc>
        <a:spcBef>
          <a:spcPct val="0"/>
        </a:spcBef>
        <a:spcAft>
          <a:spcPct val="0"/>
        </a:spcAft>
        <a:defRPr sz="2500" b="1">
          <a:solidFill>
            <a:schemeClr val="tx2"/>
          </a:solidFill>
          <a:latin typeface="Arial" pitchFamily="34" charset="0"/>
        </a:defRPr>
      </a:lvl7pPr>
      <a:lvl8pPr marL="1371600" algn="l" defTabSz="457200" rtl="0" fontAlgn="base">
        <a:lnSpc>
          <a:spcPts val="3900"/>
        </a:lnSpc>
        <a:spcBef>
          <a:spcPct val="0"/>
        </a:spcBef>
        <a:spcAft>
          <a:spcPct val="0"/>
        </a:spcAft>
        <a:defRPr sz="2500" b="1">
          <a:solidFill>
            <a:schemeClr val="tx2"/>
          </a:solidFill>
          <a:latin typeface="Arial" pitchFamily="34" charset="0"/>
        </a:defRPr>
      </a:lvl8pPr>
      <a:lvl9pPr marL="1828800" algn="l" defTabSz="457200" rtl="0" fontAlgn="base">
        <a:lnSpc>
          <a:spcPts val="3900"/>
        </a:lnSpc>
        <a:spcBef>
          <a:spcPct val="0"/>
        </a:spcBef>
        <a:spcAft>
          <a:spcPct val="0"/>
        </a:spcAft>
        <a:defRPr sz="2500" b="1">
          <a:solidFill>
            <a:schemeClr val="tx2"/>
          </a:solidFill>
          <a:latin typeface="Arial" pitchFamily="34" charset="0"/>
        </a:defRPr>
      </a:lvl9pPr>
    </p:titleStyle>
    <p:bodyStyle>
      <a:lvl1pPr marL="0" indent="0" algn="l" defTabSz="457200" rtl="0" eaLnBrk="0" fontAlgn="base" hangingPunct="0">
        <a:spcBef>
          <a:spcPts val="0"/>
        </a:spcBef>
        <a:spcAft>
          <a:spcPts val="1200"/>
        </a:spcAft>
        <a:defRPr lang="de-DE" sz="1700" b="1" kern="1200" dirty="0">
          <a:solidFill>
            <a:schemeClr val="tx1"/>
          </a:solidFill>
          <a:latin typeface="+mn-lt"/>
          <a:ea typeface="+mn-ea"/>
          <a:cs typeface="+mn-cs"/>
        </a:defRPr>
      </a:lvl1pPr>
      <a:lvl2pPr marL="269875" indent="-269875" algn="l" defTabSz="457200" rtl="0" eaLnBrk="0" fontAlgn="base" hangingPunct="0">
        <a:spcBef>
          <a:spcPts val="600"/>
        </a:spcBef>
        <a:spcAft>
          <a:spcPts val="600"/>
        </a:spcAft>
        <a:buClr>
          <a:schemeClr val="tx2"/>
        </a:buClr>
        <a:buSzPct val="100000"/>
        <a:buFont typeface="Arial" panose="020B0604020202020204" pitchFamily="34" charset="0"/>
        <a:buChar char="●"/>
        <a:defRPr lang="de-DE" altLang="de-DE" sz="1700" kern="1200" dirty="0" smtClean="0">
          <a:solidFill>
            <a:schemeClr val="tx1"/>
          </a:solidFill>
          <a:latin typeface="+mn-lt"/>
          <a:ea typeface="+mn-ea"/>
          <a:cs typeface="+mn-cs"/>
        </a:defRPr>
      </a:lvl2pPr>
      <a:lvl3pPr marL="625475" indent="-269875" algn="l" defTabSz="457200" rtl="0" eaLnBrk="0" fontAlgn="base" hangingPunct="0">
        <a:spcBef>
          <a:spcPts val="600"/>
        </a:spcBef>
        <a:spcAft>
          <a:spcPts val="600"/>
        </a:spcAft>
        <a:buClr>
          <a:schemeClr val="tx2"/>
        </a:buClr>
        <a:buSzPct val="100000"/>
        <a:buFont typeface="Arial" panose="020B0604020202020204" pitchFamily="34" charset="0"/>
        <a:buChar char="●"/>
        <a:defRPr lang="de-DE" sz="1700" kern="1200" dirty="0">
          <a:solidFill>
            <a:schemeClr val="tx1"/>
          </a:solidFill>
          <a:latin typeface="+mn-lt"/>
          <a:ea typeface="+mn-ea"/>
          <a:cs typeface="+mn-cs"/>
        </a:defRPr>
      </a:lvl3pPr>
      <a:lvl4pPr marL="1076325" indent="-269875" algn="l" defTabSz="457200" rtl="0" eaLnBrk="0" fontAlgn="base" hangingPunct="0">
        <a:spcBef>
          <a:spcPts val="600"/>
        </a:spcBef>
        <a:spcAft>
          <a:spcPts val="600"/>
        </a:spcAft>
        <a:buClr>
          <a:schemeClr val="tx2"/>
        </a:buClr>
        <a:buSzPct val="100000"/>
        <a:buFont typeface="Arial" panose="020B0604020202020204" pitchFamily="34" charset="0"/>
        <a:buChar char="●"/>
        <a:defRPr lang="de-DE" sz="1700" kern="1200" dirty="0">
          <a:solidFill>
            <a:schemeClr val="tx1"/>
          </a:solidFill>
          <a:latin typeface="+mn-lt"/>
          <a:ea typeface="+mn-ea"/>
          <a:cs typeface="+mn-cs"/>
        </a:defRPr>
      </a:lvl4pPr>
      <a:lvl5pPr marL="269875" indent="-269875" algn="l" defTabSz="457200" rtl="0" eaLnBrk="0" fontAlgn="base" hangingPunct="0">
        <a:spcBef>
          <a:spcPts val="0"/>
        </a:spcBef>
        <a:spcAft>
          <a:spcPts val="600"/>
        </a:spcAft>
        <a:buSzPct val="100000"/>
        <a:buBlip>
          <a:blip r:embed="rId24"/>
        </a:buBlip>
        <a:defRPr lang="de-DE" sz="1700" kern="1200" dirty="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2880" userDrawn="1">
          <p15:clr>
            <a:srgbClr val="F26B43"/>
          </p15:clr>
        </p15:guide>
        <p15:guide id="3" pos="226" userDrawn="1">
          <p15:clr>
            <a:srgbClr val="F26B43"/>
          </p15:clr>
        </p15:guide>
        <p15:guide id="4" pos="5534" userDrawn="1">
          <p15:clr>
            <a:srgbClr val="F26B43"/>
          </p15:clr>
        </p15:guide>
        <p15:guide id="5" orient="horz" pos="1315" userDrawn="1">
          <p15:clr>
            <a:srgbClr val="F26B43"/>
          </p15:clr>
        </p15:guide>
        <p15:guide id="6" orient="horz" pos="958" userDrawn="1">
          <p15:clr>
            <a:srgbClr val="F26B43"/>
          </p15:clr>
        </p15:guide>
        <p15:guide id="7" orient="horz" pos="663" userDrawn="1">
          <p15:clr>
            <a:srgbClr val="F26B43"/>
          </p15:clr>
        </p15:guide>
        <p15:guide id="8" orient="horz" pos="504" userDrawn="1">
          <p15:clr>
            <a:srgbClr val="F26B43"/>
          </p15:clr>
        </p15:guide>
        <p15:guide id="9" orient="horz" pos="4065" userDrawn="1">
          <p15:clr>
            <a:srgbClr val="F26B43"/>
          </p15:clr>
        </p15:guide>
        <p15:guide id="10" orient="horz" pos="3952" userDrawn="1">
          <p15:clr>
            <a:srgbClr val="F26B43"/>
          </p15:clr>
        </p15:guide>
        <p15:guide id="11" pos="2767" userDrawn="1">
          <p15:clr>
            <a:srgbClr val="F26B43"/>
          </p15:clr>
        </p15:guide>
        <p15:guide id="12" pos="2993" userDrawn="1">
          <p15:clr>
            <a:srgbClr val="F26B43"/>
          </p15:clr>
        </p15:guide>
        <p15:guide id="13" orient="horz" pos="3430" userDrawn="1">
          <p15:clr>
            <a:srgbClr val="F26B43"/>
          </p15:clr>
        </p15:guide>
        <p15:guide id="14" orient="horz" pos="3362" userDrawn="1">
          <p15:clr>
            <a:srgbClr val="F26B43"/>
          </p15:clr>
        </p15:guide>
        <p15:guide id="16" orient="horz" pos="1638" userDrawn="1">
          <p15:clr>
            <a:srgbClr val="F26B43"/>
          </p15:clr>
        </p15:guide>
        <p15:guide id="18" pos="907"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14.xml"/><Relationship Id="rId5" Type="http://schemas.openxmlformats.org/officeDocument/2006/relationships/image" Target="../media/image18.png"/><Relationship Id="rId4" Type="http://schemas.openxmlformats.org/officeDocument/2006/relationships/image" Target="../media/image17.png"/></Relationships>
</file>

<file path=ppt/slides/_rels/slide2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png"/><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1331974" y="2425341"/>
            <a:ext cx="6660406" cy="1000274"/>
          </a:xfrm>
        </p:spPr>
        <p:txBody>
          <a:bodyPr/>
          <a:lstStyle/>
          <a:p>
            <a:r>
              <a:rPr lang="de-DE" altLang="de-DE" sz="2900" dirty="0"/>
              <a:t>Mehr Rente durch </a:t>
            </a:r>
            <a:r>
              <a:rPr lang="de-DE" altLang="de-DE" sz="2900" dirty="0" err="1"/>
              <a:t>bAV</a:t>
            </a:r>
            <a:r>
              <a:rPr lang="de-DE" altLang="de-DE" sz="2900" dirty="0"/>
              <a:t> für </a:t>
            </a:r>
            <a:br>
              <a:rPr lang="de-DE" altLang="de-DE" sz="2900" dirty="0"/>
            </a:br>
            <a:r>
              <a:rPr lang="de-DE" altLang="de-DE" sz="2900" dirty="0"/>
              <a:t>geringfügig Beschäftigte (Minijobber)</a:t>
            </a:r>
            <a:endParaRPr lang="de-DE" sz="2900" dirty="0"/>
          </a:p>
        </p:txBody>
      </p:sp>
      <p:sp>
        <p:nvSpPr>
          <p:cNvPr id="7" name="Textplatzhalter 6"/>
          <p:cNvSpPr>
            <a:spLocks noGrp="1"/>
          </p:cNvSpPr>
          <p:nvPr>
            <p:ph type="body" sz="quarter" idx="10"/>
          </p:nvPr>
        </p:nvSpPr>
        <p:spPr/>
        <p:txBody>
          <a:bodyPr/>
          <a:lstStyle/>
          <a:p>
            <a:pPr marL="0" indent="0">
              <a:tabLst/>
            </a:pPr>
            <a:r>
              <a:rPr lang="de-DE" dirty="0"/>
              <a:t>Ich informiere und unterstütze Ihren Arbeitgeber</a:t>
            </a:r>
            <a:br>
              <a:rPr lang="de-DE" dirty="0"/>
            </a:br>
            <a:r>
              <a:rPr lang="de-DE" dirty="0"/>
              <a:t>in allen Fragen zur betrieblichen Altersversorgung.</a:t>
            </a:r>
          </a:p>
        </p:txBody>
      </p:sp>
      <p:sp>
        <p:nvSpPr>
          <p:cNvPr id="6" name="Untertitel 5"/>
          <p:cNvSpPr>
            <a:spLocks noGrp="1"/>
          </p:cNvSpPr>
          <p:nvPr>
            <p:ph type="subTitle" idx="1"/>
          </p:nvPr>
        </p:nvSpPr>
        <p:spPr/>
        <p:txBody>
          <a:bodyPr/>
          <a:lstStyle/>
          <a:p>
            <a:r>
              <a:rPr lang="de-DE" altLang="de-DE"/>
              <a:t>Information zur betrieblichen Altersversorgung.</a:t>
            </a:r>
            <a:endParaRPr lang="de-DE" altLang="de-DE" dirty="0"/>
          </a:p>
        </p:txBody>
      </p:sp>
    </p:spTree>
    <p:extLst>
      <p:ext uri="{BB962C8B-B14F-4D97-AF65-F5344CB8AC3E}">
        <p14:creationId xmlns:p14="http://schemas.microsoft.com/office/powerpoint/2010/main" val="39376433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dirty="0"/>
              <a:t>Die Minijob-Lösung in der bAV:</a:t>
            </a:r>
            <a:br>
              <a:rPr lang="de-DE" altLang="de-DE" dirty="0"/>
            </a:br>
            <a:r>
              <a:rPr lang="de-DE" altLang="de-DE" dirty="0"/>
              <a:t>Nutzen Sie Ihre Versorgungsmöglichkeiten</a:t>
            </a:r>
            <a:endParaRPr lang="de-DE" dirty="0"/>
          </a:p>
        </p:txBody>
      </p:sp>
      <p:sp>
        <p:nvSpPr>
          <p:cNvPr id="3" name="Textplatzhalter 2"/>
          <p:cNvSpPr>
            <a:spLocks noGrp="1"/>
          </p:cNvSpPr>
          <p:nvPr>
            <p:ph type="body" sz="quarter" idx="17"/>
          </p:nvPr>
        </p:nvSpPr>
        <p:spPr>
          <a:xfrm>
            <a:off x="358775" y="2087563"/>
            <a:ext cx="8426448" cy="512762"/>
          </a:xfrm>
        </p:spPr>
        <p:txBody>
          <a:bodyPr>
            <a:normAutofit/>
          </a:bodyPr>
          <a:lstStyle/>
          <a:p>
            <a:r>
              <a:rPr lang="de-DE" altLang="de-DE" dirty="0"/>
              <a:t>Mehrarbeit kann in betriebliche Altersversorgung umgewandelt werden.</a:t>
            </a:r>
          </a:p>
          <a:p>
            <a:endParaRPr lang="de-DE" dirty="0"/>
          </a:p>
        </p:txBody>
      </p:sp>
      <p:sp>
        <p:nvSpPr>
          <p:cNvPr id="5" name="Textplatzhalter 4"/>
          <p:cNvSpPr>
            <a:spLocks noGrp="1"/>
          </p:cNvSpPr>
          <p:nvPr>
            <p:ph type="body" sz="quarter" idx="21"/>
          </p:nvPr>
        </p:nvSpPr>
        <p:spPr>
          <a:xfrm>
            <a:off x="358775" y="2543175"/>
            <a:ext cx="4033838" cy="2736850"/>
          </a:xfrm>
        </p:spPr>
        <p:txBody>
          <a:bodyPr/>
          <a:lstStyle/>
          <a:p>
            <a:pPr lvl="1"/>
            <a:r>
              <a:rPr lang="de-DE" altLang="de-DE" dirty="0"/>
              <a:t>Der Gesetzgeber bevorzugt Minijobber sozialversicherungsrechtlich bis 450 Euro Entgelt im Monat.</a:t>
            </a:r>
          </a:p>
          <a:p>
            <a:pPr lvl="1"/>
            <a:r>
              <a:rPr lang="de-DE" altLang="de-DE" dirty="0"/>
              <a:t>Viele Minijobber wollen mehr arbeiten, aber ihren Minijobstatus nicht verlieren.</a:t>
            </a:r>
          </a:p>
          <a:p>
            <a:endParaRPr lang="de-DE" dirty="0"/>
          </a:p>
        </p:txBody>
      </p:sp>
      <p:sp>
        <p:nvSpPr>
          <p:cNvPr id="23" name="Textplatzhalter 22"/>
          <p:cNvSpPr>
            <a:spLocks noGrp="1"/>
          </p:cNvSpPr>
          <p:nvPr>
            <p:ph type="body" sz="quarter" idx="24"/>
          </p:nvPr>
        </p:nvSpPr>
        <p:spPr/>
        <p:txBody>
          <a:bodyPr/>
          <a:lstStyle/>
          <a:p>
            <a:r>
              <a:rPr lang="de-DE" dirty="0"/>
              <a:t>Mit der Lösung „Mehrarbeit gegen bAV“ erhalten Sie Ihren Minijob-Status und können gleichzeitig mehr arbeiten – sinnvoll vergütet!</a:t>
            </a:r>
          </a:p>
        </p:txBody>
      </p:sp>
      <p:sp>
        <p:nvSpPr>
          <p:cNvPr id="22" name="Textplatzhalter 21"/>
          <p:cNvSpPr>
            <a:spLocks noGrp="1"/>
          </p:cNvSpPr>
          <p:nvPr>
            <p:ph type="body" sz="quarter" idx="23"/>
          </p:nvPr>
        </p:nvSpPr>
        <p:spPr/>
        <p:txBody>
          <a:bodyPr/>
          <a:lstStyle/>
          <a:p>
            <a:endParaRPr lang="de-DE"/>
          </a:p>
        </p:txBody>
      </p:sp>
      <p:sp>
        <p:nvSpPr>
          <p:cNvPr id="9" name="Textplatzhalter 8"/>
          <p:cNvSpPr>
            <a:spLocks noGrp="1"/>
          </p:cNvSpPr>
          <p:nvPr>
            <p:ph type="body" sz="quarter" idx="18"/>
          </p:nvPr>
        </p:nvSpPr>
        <p:spPr/>
        <p:txBody>
          <a:bodyPr/>
          <a:lstStyle/>
          <a:p>
            <a:r>
              <a:rPr lang="de-DE" altLang="de-DE"/>
              <a:t>3. Besondere bAV-Möglichkeiten für Minijobber</a:t>
            </a:r>
            <a:endParaRPr lang="de-DE" altLang="de-DE" dirty="0"/>
          </a:p>
        </p:txBody>
      </p:sp>
      <p:sp>
        <p:nvSpPr>
          <p:cNvPr id="10" name="Datumsplatzhalter 9"/>
          <p:cNvSpPr>
            <a:spLocks noGrp="1"/>
          </p:cNvSpPr>
          <p:nvPr>
            <p:ph type="dt" sz="half" idx="25"/>
          </p:nvPr>
        </p:nvSpPr>
        <p:spPr/>
        <p:txBody>
          <a:bodyPr/>
          <a:lstStyle/>
          <a:p>
            <a:r>
              <a:rPr lang="de-DE"/>
              <a:t>01.01.2020</a:t>
            </a:r>
            <a:endParaRPr lang="de-DE" dirty="0"/>
          </a:p>
        </p:txBody>
      </p:sp>
      <p:sp>
        <p:nvSpPr>
          <p:cNvPr id="11" name="Fußzeilenplatzhalter 10"/>
          <p:cNvSpPr>
            <a:spLocks noGrp="1"/>
          </p:cNvSpPr>
          <p:nvPr>
            <p:ph type="ftr" sz="quarter" idx="26"/>
          </p:nvPr>
        </p:nvSpPr>
        <p:spPr/>
        <p:txBody>
          <a:bodyPr/>
          <a:lstStyle/>
          <a:p>
            <a:r>
              <a:rPr lang="de-DE"/>
              <a:t>Präsentation für Arbeitnehmer</a:t>
            </a:r>
            <a:endParaRPr lang="de-DE" dirty="0"/>
          </a:p>
        </p:txBody>
      </p:sp>
      <p:sp>
        <p:nvSpPr>
          <p:cNvPr id="12" name="Foliennummernplatzhalter 11"/>
          <p:cNvSpPr>
            <a:spLocks noGrp="1"/>
          </p:cNvSpPr>
          <p:nvPr>
            <p:ph type="sldNum" sz="quarter" idx="27"/>
          </p:nvPr>
        </p:nvSpPr>
        <p:spPr/>
        <p:txBody>
          <a:bodyPr/>
          <a:lstStyle/>
          <a:p>
            <a:fld id="{BFE8ADF1-837C-463F-9856-54C2D771B21B}" type="slidenum">
              <a:rPr lang="de-DE" smtClean="0"/>
              <a:pPr/>
              <a:t>10</a:t>
            </a:fld>
            <a:endParaRPr lang="de-DE" dirty="0"/>
          </a:p>
        </p:txBody>
      </p:sp>
      <p:grpSp>
        <p:nvGrpSpPr>
          <p:cNvPr id="28" name="Gruppieren 27"/>
          <p:cNvGrpSpPr>
            <a:grpSpLocks/>
          </p:cNvGrpSpPr>
          <p:nvPr/>
        </p:nvGrpSpPr>
        <p:grpSpPr bwMode="auto">
          <a:xfrm>
            <a:off x="6126833" y="3892654"/>
            <a:ext cx="1152000" cy="421578"/>
            <a:chOff x="6090638" y="4015581"/>
            <a:chExt cx="1260000" cy="421483"/>
          </a:xfrm>
        </p:grpSpPr>
        <p:cxnSp>
          <p:nvCxnSpPr>
            <p:cNvPr id="32" name="Gerade Verbindung mit Pfeil 31"/>
            <p:cNvCxnSpPr/>
            <p:nvPr/>
          </p:nvCxnSpPr>
          <p:spPr bwMode="auto">
            <a:xfrm rot="16200000">
              <a:off x="6720638" y="3807064"/>
              <a:ext cx="0" cy="1260000"/>
            </a:xfrm>
            <a:prstGeom prst="straightConnector1">
              <a:avLst/>
            </a:prstGeom>
            <a:ln w="28575" cap="rnd">
              <a:solidFill>
                <a:schemeClr val="accent5"/>
              </a:solidFill>
              <a:round/>
              <a:tailEnd type="triangle" w="lg" len="med"/>
            </a:ln>
            <a:effectLst/>
          </p:spPr>
          <p:style>
            <a:lnRef idx="2">
              <a:schemeClr val="accent1"/>
            </a:lnRef>
            <a:fillRef idx="0">
              <a:schemeClr val="accent1"/>
            </a:fillRef>
            <a:effectRef idx="1">
              <a:schemeClr val="accent1"/>
            </a:effectRef>
            <a:fontRef idx="minor">
              <a:schemeClr val="tx1"/>
            </a:fontRef>
          </p:style>
        </p:cxnSp>
        <p:sp>
          <p:nvSpPr>
            <p:cNvPr id="33" name="Rechteck 13"/>
            <p:cNvSpPr>
              <a:spLocks noChangeArrowheads="1"/>
            </p:cNvSpPr>
            <p:nvPr/>
          </p:nvSpPr>
          <p:spPr bwMode="auto">
            <a:xfrm>
              <a:off x="6428718" y="4015581"/>
              <a:ext cx="583843" cy="3384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a:spcBef>
                  <a:spcPts val="1600"/>
                </a:spcBef>
                <a:defRPr sz="1700">
                  <a:solidFill>
                    <a:schemeClr val="tx1"/>
                  </a:solidFill>
                  <a:latin typeface="Arial" charset="0"/>
                </a:defRPr>
              </a:lvl1pPr>
              <a:lvl2pPr marL="742950" indent="-285750">
                <a:spcBef>
                  <a:spcPts val="1600"/>
                </a:spcBef>
                <a:buSzPct val="100000"/>
                <a:buBlip>
                  <a:blip r:embed="rId2"/>
                </a:buBlip>
                <a:defRPr sz="1700">
                  <a:solidFill>
                    <a:schemeClr val="tx1"/>
                  </a:solidFill>
                  <a:latin typeface="Arial" charset="0"/>
                </a:defRPr>
              </a:lvl2pPr>
              <a:lvl3pPr marL="1143000" indent="-228600">
                <a:spcBef>
                  <a:spcPts val="1600"/>
                </a:spcBef>
                <a:buSzPct val="100000"/>
                <a:buBlip>
                  <a:blip r:embed="rId2"/>
                </a:buBlip>
                <a:defRPr sz="1700">
                  <a:solidFill>
                    <a:schemeClr val="tx1"/>
                  </a:solidFill>
                  <a:latin typeface="Arial" charset="0"/>
                </a:defRPr>
              </a:lvl3pPr>
              <a:lvl4pPr marL="1600200" indent="-228600">
                <a:spcBef>
                  <a:spcPts val="1600"/>
                </a:spcBef>
                <a:buSzPct val="100000"/>
                <a:buBlip>
                  <a:blip r:embed="rId2"/>
                </a:buBlip>
                <a:defRPr sz="1700">
                  <a:solidFill>
                    <a:schemeClr val="tx1"/>
                  </a:solidFill>
                  <a:latin typeface="Arial" charset="0"/>
                </a:defRPr>
              </a:lvl4pPr>
              <a:lvl5pPr marL="2057400" indent="-228600">
                <a:spcBef>
                  <a:spcPts val="1600"/>
                </a:spcBef>
                <a:buSzPct val="100000"/>
                <a:buBlip>
                  <a:blip r:embed="rId2"/>
                </a:buBlip>
                <a:defRPr sz="1700">
                  <a:solidFill>
                    <a:schemeClr val="tx1"/>
                  </a:solidFill>
                  <a:latin typeface="Arial" charset="0"/>
                </a:defRPr>
              </a:lvl5pPr>
              <a:lvl6pPr marL="2514600" indent="-228600" defTabSz="457200" eaLnBrk="0" fontAlgn="base" hangingPunct="0">
                <a:spcBef>
                  <a:spcPts val="1600"/>
                </a:spcBef>
                <a:spcAft>
                  <a:spcPct val="0"/>
                </a:spcAft>
                <a:buSzPct val="100000"/>
                <a:buBlip>
                  <a:blip r:embed="rId2"/>
                </a:buBlip>
                <a:defRPr sz="1700">
                  <a:solidFill>
                    <a:schemeClr val="tx1"/>
                  </a:solidFill>
                  <a:latin typeface="Arial" charset="0"/>
                </a:defRPr>
              </a:lvl6pPr>
              <a:lvl7pPr marL="2971800" indent="-228600" defTabSz="457200" eaLnBrk="0" fontAlgn="base" hangingPunct="0">
                <a:spcBef>
                  <a:spcPts val="1600"/>
                </a:spcBef>
                <a:spcAft>
                  <a:spcPct val="0"/>
                </a:spcAft>
                <a:buSzPct val="100000"/>
                <a:buBlip>
                  <a:blip r:embed="rId2"/>
                </a:buBlip>
                <a:defRPr sz="1700">
                  <a:solidFill>
                    <a:schemeClr val="tx1"/>
                  </a:solidFill>
                  <a:latin typeface="Arial" charset="0"/>
                </a:defRPr>
              </a:lvl7pPr>
              <a:lvl8pPr marL="3429000" indent="-228600" defTabSz="457200" eaLnBrk="0" fontAlgn="base" hangingPunct="0">
                <a:spcBef>
                  <a:spcPts val="1600"/>
                </a:spcBef>
                <a:spcAft>
                  <a:spcPct val="0"/>
                </a:spcAft>
                <a:buSzPct val="100000"/>
                <a:buBlip>
                  <a:blip r:embed="rId2"/>
                </a:buBlip>
                <a:defRPr sz="1700">
                  <a:solidFill>
                    <a:schemeClr val="tx1"/>
                  </a:solidFill>
                  <a:latin typeface="Arial" charset="0"/>
                </a:defRPr>
              </a:lvl8pPr>
              <a:lvl9pPr marL="3886200" indent="-228600" defTabSz="457200" eaLnBrk="0" fontAlgn="base" hangingPunct="0">
                <a:spcBef>
                  <a:spcPts val="1600"/>
                </a:spcBef>
                <a:spcAft>
                  <a:spcPct val="0"/>
                </a:spcAft>
                <a:buSzPct val="100000"/>
                <a:buBlip>
                  <a:blip r:embed="rId2"/>
                </a:buBlip>
                <a:defRPr sz="1700">
                  <a:solidFill>
                    <a:schemeClr val="tx1"/>
                  </a:solidFill>
                  <a:latin typeface="Arial" charset="0"/>
                </a:defRPr>
              </a:lvl9pPr>
            </a:lstStyle>
            <a:p>
              <a:pPr algn="ctr" eaLnBrk="1" hangingPunct="1">
                <a:spcBef>
                  <a:spcPct val="0"/>
                </a:spcBef>
              </a:pPr>
              <a:r>
                <a:rPr lang="de-DE" altLang="de-DE" sz="1100" b="1" dirty="0"/>
                <a:t>Lohn-</a:t>
              </a:r>
              <a:br>
                <a:rPr lang="de-DE" altLang="de-DE" sz="1100" b="1" dirty="0"/>
              </a:br>
              <a:r>
                <a:rPr lang="de-DE" altLang="de-DE" sz="1100" b="1" dirty="0" err="1"/>
                <a:t>zahlung</a:t>
              </a:r>
              <a:endParaRPr lang="de-DE" altLang="de-DE" sz="1100" b="1" dirty="0"/>
            </a:p>
          </p:txBody>
        </p:sp>
      </p:grpSp>
      <p:grpSp>
        <p:nvGrpSpPr>
          <p:cNvPr id="29" name="Gruppieren 28"/>
          <p:cNvGrpSpPr>
            <a:grpSpLocks/>
          </p:cNvGrpSpPr>
          <p:nvPr/>
        </p:nvGrpSpPr>
        <p:grpSpPr bwMode="auto">
          <a:xfrm>
            <a:off x="6126835" y="2575029"/>
            <a:ext cx="1152000" cy="421577"/>
            <a:chOff x="6090640" y="2697748"/>
            <a:chExt cx="1260000" cy="421482"/>
          </a:xfrm>
        </p:grpSpPr>
        <p:cxnSp>
          <p:nvCxnSpPr>
            <p:cNvPr id="30" name="Gerade Verbindung mit Pfeil 29"/>
            <p:cNvCxnSpPr/>
            <p:nvPr/>
          </p:nvCxnSpPr>
          <p:spPr bwMode="auto">
            <a:xfrm rot="16200000">
              <a:off x="6720640" y="2489230"/>
              <a:ext cx="0" cy="1260000"/>
            </a:xfrm>
            <a:prstGeom prst="straightConnector1">
              <a:avLst/>
            </a:prstGeom>
            <a:ln w="28575" cap="rnd">
              <a:solidFill>
                <a:schemeClr val="accent5"/>
              </a:solidFill>
              <a:round/>
              <a:tailEnd type="triangle" w="lg" len="med"/>
            </a:ln>
            <a:effectLst/>
          </p:spPr>
          <p:style>
            <a:lnRef idx="2">
              <a:schemeClr val="accent1"/>
            </a:lnRef>
            <a:fillRef idx="0">
              <a:schemeClr val="accent1"/>
            </a:fillRef>
            <a:effectRef idx="1">
              <a:schemeClr val="accent1"/>
            </a:effectRef>
            <a:fontRef idx="minor">
              <a:schemeClr val="tx1"/>
            </a:fontRef>
          </p:style>
        </p:cxnSp>
        <p:sp>
          <p:nvSpPr>
            <p:cNvPr id="31" name="Rechteck 13"/>
            <p:cNvSpPr>
              <a:spLocks noChangeArrowheads="1"/>
            </p:cNvSpPr>
            <p:nvPr/>
          </p:nvSpPr>
          <p:spPr bwMode="auto">
            <a:xfrm>
              <a:off x="6244621" y="2697748"/>
              <a:ext cx="952034" cy="3384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a:spcBef>
                  <a:spcPts val="1600"/>
                </a:spcBef>
                <a:defRPr sz="1700">
                  <a:solidFill>
                    <a:schemeClr val="tx1"/>
                  </a:solidFill>
                  <a:latin typeface="Arial" charset="0"/>
                </a:defRPr>
              </a:lvl1pPr>
              <a:lvl2pPr marL="742950" indent="-285750">
                <a:spcBef>
                  <a:spcPts val="1600"/>
                </a:spcBef>
                <a:buSzPct val="100000"/>
                <a:buBlip>
                  <a:blip r:embed="rId2"/>
                </a:buBlip>
                <a:defRPr sz="1700">
                  <a:solidFill>
                    <a:schemeClr val="tx1"/>
                  </a:solidFill>
                  <a:latin typeface="Arial" charset="0"/>
                </a:defRPr>
              </a:lvl2pPr>
              <a:lvl3pPr marL="1143000" indent="-228600">
                <a:spcBef>
                  <a:spcPts val="1600"/>
                </a:spcBef>
                <a:buSzPct val="100000"/>
                <a:buBlip>
                  <a:blip r:embed="rId2"/>
                </a:buBlip>
                <a:defRPr sz="1700">
                  <a:solidFill>
                    <a:schemeClr val="tx1"/>
                  </a:solidFill>
                  <a:latin typeface="Arial" charset="0"/>
                </a:defRPr>
              </a:lvl3pPr>
              <a:lvl4pPr marL="1600200" indent="-228600">
                <a:spcBef>
                  <a:spcPts val="1600"/>
                </a:spcBef>
                <a:buSzPct val="100000"/>
                <a:buBlip>
                  <a:blip r:embed="rId2"/>
                </a:buBlip>
                <a:defRPr sz="1700">
                  <a:solidFill>
                    <a:schemeClr val="tx1"/>
                  </a:solidFill>
                  <a:latin typeface="Arial" charset="0"/>
                </a:defRPr>
              </a:lvl4pPr>
              <a:lvl5pPr marL="2057400" indent="-228600">
                <a:spcBef>
                  <a:spcPts val="1600"/>
                </a:spcBef>
                <a:buSzPct val="100000"/>
                <a:buBlip>
                  <a:blip r:embed="rId2"/>
                </a:buBlip>
                <a:defRPr sz="1700">
                  <a:solidFill>
                    <a:schemeClr val="tx1"/>
                  </a:solidFill>
                  <a:latin typeface="Arial" charset="0"/>
                </a:defRPr>
              </a:lvl5pPr>
              <a:lvl6pPr marL="2514600" indent="-228600" defTabSz="457200" eaLnBrk="0" fontAlgn="base" hangingPunct="0">
                <a:spcBef>
                  <a:spcPts val="1600"/>
                </a:spcBef>
                <a:spcAft>
                  <a:spcPct val="0"/>
                </a:spcAft>
                <a:buSzPct val="100000"/>
                <a:buBlip>
                  <a:blip r:embed="rId2"/>
                </a:buBlip>
                <a:defRPr sz="1700">
                  <a:solidFill>
                    <a:schemeClr val="tx1"/>
                  </a:solidFill>
                  <a:latin typeface="Arial" charset="0"/>
                </a:defRPr>
              </a:lvl6pPr>
              <a:lvl7pPr marL="2971800" indent="-228600" defTabSz="457200" eaLnBrk="0" fontAlgn="base" hangingPunct="0">
                <a:spcBef>
                  <a:spcPts val="1600"/>
                </a:spcBef>
                <a:spcAft>
                  <a:spcPct val="0"/>
                </a:spcAft>
                <a:buSzPct val="100000"/>
                <a:buBlip>
                  <a:blip r:embed="rId2"/>
                </a:buBlip>
                <a:defRPr sz="1700">
                  <a:solidFill>
                    <a:schemeClr val="tx1"/>
                  </a:solidFill>
                  <a:latin typeface="Arial" charset="0"/>
                </a:defRPr>
              </a:lvl7pPr>
              <a:lvl8pPr marL="3429000" indent="-228600" defTabSz="457200" eaLnBrk="0" fontAlgn="base" hangingPunct="0">
                <a:spcBef>
                  <a:spcPts val="1600"/>
                </a:spcBef>
                <a:spcAft>
                  <a:spcPct val="0"/>
                </a:spcAft>
                <a:buSzPct val="100000"/>
                <a:buBlip>
                  <a:blip r:embed="rId2"/>
                </a:buBlip>
                <a:defRPr sz="1700">
                  <a:solidFill>
                    <a:schemeClr val="tx1"/>
                  </a:solidFill>
                  <a:latin typeface="Arial" charset="0"/>
                </a:defRPr>
              </a:lvl8pPr>
              <a:lvl9pPr marL="3886200" indent="-228600" defTabSz="457200" eaLnBrk="0" fontAlgn="base" hangingPunct="0">
                <a:spcBef>
                  <a:spcPts val="1600"/>
                </a:spcBef>
                <a:spcAft>
                  <a:spcPct val="0"/>
                </a:spcAft>
                <a:buSzPct val="100000"/>
                <a:buBlip>
                  <a:blip r:embed="rId2"/>
                </a:buBlip>
                <a:defRPr sz="1700">
                  <a:solidFill>
                    <a:schemeClr val="tx1"/>
                  </a:solidFill>
                  <a:latin typeface="Arial" charset="0"/>
                </a:defRPr>
              </a:lvl9pPr>
            </a:lstStyle>
            <a:p>
              <a:pPr algn="ctr" eaLnBrk="1" hangingPunct="1">
                <a:spcBef>
                  <a:spcPct val="0"/>
                </a:spcBef>
              </a:pPr>
              <a:r>
                <a:rPr lang="de-DE" altLang="de-DE" sz="1100" b="1" dirty="0"/>
                <a:t>Entgelt-</a:t>
              </a:r>
              <a:br>
                <a:rPr lang="de-DE" altLang="de-DE" sz="1100" b="1" dirty="0"/>
              </a:br>
              <a:r>
                <a:rPr lang="de-DE" altLang="de-DE" sz="1100" b="1" dirty="0" err="1"/>
                <a:t>umwandlung</a:t>
              </a:r>
              <a:endParaRPr lang="de-DE" altLang="de-DE" sz="1100" b="1" dirty="0"/>
            </a:p>
          </p:txBody>
        </p:sp>
      </p:grpSp>
      <p:grpSp>
        <p:nvGrpSpPr>
          <p:cNvPr id="36" name="Gruppieren 5"/>
          <p:cNvGrpSpPr>
            <a:grpSpLocks noChangeAspect="1"/>
          </p:cNvGrpSpPr>
          <p:nvPr/>
        </p:nvGrpSpPr>
        <p:grpSpPr bwMode="auto">
          <a:xfrm>
            <a:off x="646752" y="4027886"/>
            <a:ext cx="1573213" cy="1260475"/>
            <a:chOff x="5112200" y="2745458"/>
            <a:chExt cx="3371400" cy="2699668"/>
          </a:xfrm>
        </p:grpSpPr>
        <p:sp>
          <p:nvSpPr>
            <p:cNvPr id="37" name="Abgerundetes Rechteck 3"/>
            <p:cNvSpPr/>
            <p:nvPr/>
          </p:nvSpPr>
          <p:spPr>
            <a:xfrm>
              <a:off x="5112200" y="2745458"/>
              <a:ext cx="3371400" cy="2699668"/>
            </a:xfrm>
            <a:custGeom>
              <a:avLst/>
              <a:gdLst>
                <a:gd name="connsiteX0" fmla="*/ 0 w 3600000"/>
                <a:gd name="connsiteY0" fmla="*/ 161927 h 2771775"/>
                <a:gd name="connsiteX1" fmla="*/ 161927 w 3600000"/>
                <a:gd name="connsiteY1" fmla="*/ 0 h 2771775"/>
                <a:gd name="connsiteX2" fmla="*/ 3438073 w 3600000"/>
                <a:gd name="connsiteY2" fmla="*/ 0 h 2771775"/>
                <a:gd name="connsiteX3" fmla="*/ 3600000 w 3600000"/>
                <a:gd name="connsiteY3" fmla="*/ 161927 h 2771775"/>
                <a:gd name="connsiteX4" fmla="*/ 3600000 w 3600000"/>
                <a:gd name="connsiteY4" fmla="*/ 2609848 h 2771775"/>
                <a:gd name="connsiteX5" fmla="*/ 3438073 w 3600000"/>
                <a:gd name="connsiteY5" fmla="*/ 2771775 h 2771775"/>
                <a:gd name="connsiteX6" fmla="*/ 161927 w 3600000"/>
                <a:gd name="connsiteY6" fmla="*/ 2771775 h 2771775"/>
                <a:gd name="connsiteX7" fmla="*/ 0 w 3600000"/>
                <a:gd name="connsiteY7" fmla="*/ 2609848 h 2771775"/>
                <a:gd name="connsiteX8" fmla="*/ 0 w 3600000"/>
                <a:gd name="connsiteY8" fmla="*/ 161927 h 2771775"/>
                <a:gd name="connsiteX0" fmla="*/ 0 w 3600000"/>
                <a:gd name="connsiteY0" fmla="*/ 246528 h 2856376"/>
                <a:gd name="connsiteX1" fmla="*/ 3438073 w 3600000"/>
                <a:gd name="connsiteY1" fmla="*/ 84601 h 2856376"/>
                <a:gd name="connsiteX2" fmla="*/ 3600000 w 3600000"/>
                <a:gd name="connsiteY2" fmla="*/ 246528 h 2856376"/>
                <a:gd name="connsiteX3" fmla="*/ 3600000 w 3600000"/>
                <a:gd name="connsiteY3" fmla="*/ 2694449 h 2856376"/>
                <a:gd name="connsiteX4" fmla="*/ 3438073 w 3600000"/>
                <a:gd name="connsiteY4" fmla="*/ 2856376 h 2856376"/>
                <a:gd name="connsiteX5" fmla="*/ 161927 w 3600000"/>
                <a:gd name="connsiteY5" fmla="*/ 2856376 h 2856376"/>
                <a:gd name="connsiteX6" fmla="*/ 0 w 3600000"/>
                <a:gd name="connsiteY6" fmla="*/ 2694449 h 2856376"/>
                <a:gd name="connsiteX7" fmla="*/ 0 w 3600000"/>
                <a:gd name="connsiteY7" fmla="*/ 246528 h 2856376"/>
                <a:gd name="connsiteX0" fmla="*/ 0 w 3600000"/>
                <a:gd name="connsiteY0" fmla="*/ 161927 h 2771775"/>
                <a:gd name="connsiteX1" fmla="*/ 3438073 w 3600000"/>
                <a:gd name="connsiteY1" fmla="*/ 0 h 2771775"/>
                <a:gd name="connsiteX2" fmla="*/ 3600000 w 3600000"/>
                <a:gd name="connsiteY2" fmla="*/ 161927 h 2771775"/>
                <a:gd name="connsiteX3" fmla="*/ 3600000 w 3600000"/>
                <a:gd name="connsiteY3" fmla="*/ 2609848 h 2771775"/>
                <a:gd name="connsiteX4" fmla="*/ 3438073 w 3600000"/>
                <a:gd name="connsiteY4" fmla="*/ 2771775 h 2771775"/>
                <a:gd name="connsiteX5" fmla="*/ 161927 w 3600000"/>
                <a:gd name="connsiteY5" fmla="*/ 2771775 h 2771775"/>
                <a:gd name="connsiteX6" fmla="*/ 0 w 3600000"/>
                <a:gd name="connsiteY6" fmla="*/ 2609848 h 2771775"/>
                <a:gd name="connsiteX7" fmla="*/ 0 w 3600000"/>
                <a:gd name="connsiteY7" fmla="*/ 161927 h 2771775"/>
                <a:gd name="connsiteX0" fmla="*/ 2381 w 3600000"/>
                <a:gd name="connsiteY0" fmla="*/ 2 h 2771775"/>
                <a:gd name="connsiteX1" fmla="*/ 3438073 w 3600000"/>
                <a:gd name="connsiteY1" fmla="*/ 0 h 2771775"/>
                <a:gd name="connsiteX2" fmla="*/ 3600000 w 3600000"/>
                <a:gd name="connsiteY2" fmla="*/ 161927 h 2771775"/>
                <a:gd name="connsiteX3" fmla="*/ 3600000 w 3600000"/>
                <a:gd name="connsiteY3" fmla="*/ 2609848 h 2771775"/>
                <a:gd name="connsiteX4" fmla="*/ 3438073 w 3600000"/>
                <a:gd name="connsiteY4" fmla="*/ 2771775 h 2771775"/>
                <a:gd name="connsiteX5" fmla="*/ 161927 w 3600000"/>
                <a:gd name="connsiteY5" fmla="*/ 2771775 h 2771775"/>
                <a:gd name="connsiteX6" fmla="*/ 0 w 3600000"/>
                <a:gd name="connsiteY6" fmla="*/ 2609848 h 2771775"/>
                <a:gd name="connsiteX7" fmla="*/ 2381 w 3600000"/>
                <a:gd name="connsiteY7" fmla="*/ 2 h 2771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0000" h="2771775">
                  <a:moveTo>
                    <a:pt x="2381" y="2"/>
                  </a:moveTo>
                  <a:lnTo>
                    <a:pt x="3438073" y="0"/>
                  </a:lnTo>
                  <a:cubicBezTo>
                    <a:pt x="3527503" y="0"/>
                    <a:pt x="3600000" y="72497"/>
                    <a:pt x="3600000" y="161927"/>
                  </a:cubicBezTo>
                  <a:lnTo>
                    <a:pt x="3600000" y="2609848"/>
                  </a:lnTo>
                  <a:cubicBezTo>
                    <a:pt x="3600000" y="2699278"/>
                    <a:pt x="3527503" y="2771775"/>
                    <a:pt x="3438073" y="2771775"/>
                  </a:cubicBezTo>
                  <a:lnTo>
                    <a:pt x="161927" y="2771775"/>
                  </a:lnTo>
                  <a:cubicBezTo>
                    <a:pt x="72497" y="2771775"/>
                    <a:pt x="0" y="2699278"/>
                    <a:pt x="0" y="2609848"/>
                  </a:cubicBezTo>
                  <a:cubicBezTo>
                    <a:pt x="794" y="1739899"/>
                    <a:pt x="1587" y="869951"/>
                    <a:pt x="2381" y="2"/>
                  </a:cubicBezTo>
                  <a:close/>
                </a:path>
              </a:pathLst>
            </a:custGeom>
            <a:solidFill>
              <a:schemeClr val="bg1"/>
            </a:solidFill>
            <a:ln w="12700">
              <a:solidFill>
                <a:schemeClr val="accent5"/>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de-DE" sz="1200"/>
            </a:p>
          </p:txBody>
        </p:sp>
        <p:grpSp>
          <p:nvGrpSpPr>
            <p:cNvPr id="38" name="Gruppieren 38"/>
            <p:cNvGrpSpPr>
              <a:grpSpLocks/>
            </p:cNvGrpSpPr>
            <p:nvPr/>
          </p:nvGrpSpPr>
          <p:grpSpPr bwMode="auto">
            <a:xfrm>
              <a:off x="5373368" y="2834728"/>
              <a:ext cx="2848046" cy="2390168"/>
              <a:chOff x="5288350" y="2744924"/>
              <a:chExt cx="2848046" cy="2390168"/>
            </a:xfrm>
          </p:grpSpPr>
          <p:sp>
            <p:nvSpPr>
              <p:cNvPr id="39" name="Abgerundetes Rechteck 2"/>
              <p:cNvSpPr/>
              <p:nvPr/>
            </p:nvSpPr>
            <p:spPr>
              <a:xfrm>
                <a:off x="5292540" y="3733483"/>
                <a:ext cx="2844086" cy="1332834"/>
              </a:xfrm>
              <a:custGeom>
                <a:avLst/>
                <a:gdLst>
                  <a:gd name="connsiteX0" fmla="*/ 0 w 2844000"/>
                  <a:gd name="connsiteY0" fmla="*/ 164862 h 1332000"/>
                  <a:gd name="connsiteX1" fmla="*/ 164862 w 2844000"/>
                  <a:gd name="connsiteY1" fmla="*/ 0 h 1332000"/>
                  <a:gd name="connsiteX2" fmla="*/ 2679138 w 2844000"/>
                  <a:gd name="connsiteY2" fmla="*/ 0 h 1332000"/>
                  <a:gd name="connsiteX3" fmla="*/ 2844000 w 2844000"/>
                  <a:gd name="connsiteY3" fmla="*/ 164862 h 1332000"/>
                  <a:gd name="connsiteX4" fmla="*/ 2844000 w 2844000"/>
                  <a:gd name="connsiteY4" fmla="*/ 1167138 h 1332000"/>
                  <a:gd name="connsiteX5" fmla="*/ 2679138 w 2844000"/>
                  <a:gd name="connsiteY5" fmla="*/ 1332000 h 1332000"/>
                  <a:gd name="connsiteX6" fmla="*/ 164862 w 2844000"/>
                  <a:gd name="connsiteY6" fmla="*/ 1332000 h 1332000"/>
                  <a:gd name="connsiteX7" fmla="*/ 0 w 2844000"/>
                  <a:gd name="connsiteY7" fmla="*/ 1167138 h 1332000"/>
                  <a:gd name="connsiteX8" fmla="*/ 0 w 2844000"/>
                  <a:gd name="connsiteY8" fmla="*/ 164862 h 1332000"/>
                  <a:gd name="connsiteX0" fmla="*/ 0 w 2844000"/>
                  <a:gd name="connsiteY0" fmla="*/ 166481 h 1333619"/>
                  <a:gd name="connsiteX1" fmla="*/ 2679138 w 2844000"/>
                  <a:gd name="connsiteY1" fmla="*/ 1619 h 1333619"/>
                  <a:gd name="connsiteX2" fmla="*/ 2844000 w 2844000"/>
                  <a:gd name="connsiteY2" fmla="*/ 166481 h 1333619"/>
                  <a:gd name="connsiteX3" fmla="*/ 2844000 w 2844000"/>
                  <a:gd name="connsiteY3" fmla="*/ 1168757 h 1333619"/>
                  <a:gd name="connsiteX4" fmla="*/ 2679138 w 2844000"/>
                  <a:gd name="connsiteY4" fmla="*/ 1333619 h 1333619"/>
                  <a:gd name="connsiteX5" fmla="*/ 164862 w 2844000"/>
                  <a:gd name="connsiteY5" fmla="*/ 1333619 h 1333619"/>
                  <a:gd name="connsiteX6" fmla="*/ 0 w 2844000"/>
                  <a:gd name="connsiteY6" fmla="*/ 1168757 h 1333619"/>
                  <a:gd name="connsiteX7" fmla="*/ 0 w 2844000"/>
                  <a:gd name="connsiteY7" fmla="*/ 166481 h 1333619"/>
                  <a:gd name="connsiteX0" fmla="*/ 0 w 2844000"/>
                  <a:gd name="connsiteY0" fmla="*/ 164862 h 1332000"/>
                  <a:gd name="connsiteX1" fmla="*/ 2679138 w 2844000"/>
                  <a:gd name="connsiteY1" fmla="*/ 0 h 1332000"/>
                  <a:gd name="connsiteX2" fmla="*/ 2844000 w 2844000"/>
                  <a:gd name="connsiteY2" fmla="*/ 164862 h 1332000"/>
                  <a:gd name="connsiteX3" fmla="*/ 2844000 w 2844000"/>
                  <a:gd name="connsiteY3" fmla="*/ 1167138 h 1332000"/>
                  <a:gd name="connsiteX4" fmla="*/ 2679138 w 2844000"/>
                  <a:gd name="connsiteY4" fmla="*/ 1332000 h 1332000"/>
                  <a:gd name="connsiteX5" fmla="*/ 164862 w 2844000"/>
                  <a:gd name="connsiteY5" fmla="*/ 1332000 h 1332000"/>
                  <a:gd name="connsiteX6" fmla="*/ 0 w 2844000"/>
                  <a:gd name="connsiteY6" fmla="*/ 1167138 h 1332000"/>
                  <a:gd name="connsiteX7" fmla="*/ 0 w 2844000"/>
                  <a:gd name="connsiteY7" fmla="*/ 164862 h 1332000"/>
                  <a:gd name="connsiteX0" fmla="*/ 0 w 2844000"/>
                  <a:gd name="connsiteY0" fmla="*/ 555 h 1332000"/>
                  <a:gd name="connsiteX1" fmla="*/ 2679138 w 2844000"/>
                  <a:gd name="connsiteY1" fmla="*/ 0 h 1332000"/>
                  <a:gd name="connsiteX2" fmla="*/ 2844000 w 2844000"/>
                  <a:gd name="connsiteY2" fmla="*/ 164862 h 1332000"/>
                  <a:gd name="connsiteX3" fmla="*/ 2844000 w 2844000"/>
                  <a:gd name="connsiteY3" fmla="*/ 1167138 h 1332000"/>
                  <a:gd name="connsiteX4" fmla="*/ 2679138 w 2844000"/>
                  <a:gd name="connsiteY4" fmla="*/ 1332000 h 1332000"/>
                  <a:gd name="connsiteX5" fmla="*/ 164862 w 2844000"/>
                  <a:gd name="connsiteY5" fmla="*/ 1332000 h 1332000"/>
                  <a:gd name="connsiteX6" fmla="*/ 0 w 2844000"/>
                  <a:gd name="connsiteY6" fmla="*/ 1167138 h 1332000"/>
                  <a:gd name="connsiteX7" fmla="*/ 0 w 2844000"/>
                  <a:gd name="connsiteY7" fmla="*/ 555 h 133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44000" h="1332000">
                    <a:moveTo>
                      <a:pt x="0" y="555"/>
                    </a:moveTo>
                    <a:lnTo>
                      <a:pt x="2679138" y="0"/>
                    </a:lnTo>
                    <a:cubicBezTo>
                      <a:pt x="2770189" y="0"/>
                      <a:pt x="2844000" y="73811"/>
                      <a:pt x="2844000" y="164862"/>
                    </a:cubicBezTo>
                    <a:lnTo>
                      <a:pt x="2844000" y="1167138"/>
                    </a:lnTo>
                    <a:cubicBezTo>
                      <a:pt x="2844000" y="1258189"/>
                      <a:pt x="2770189" y="1332000"/>
                      <a:pt x="2679138" y="1332000"/>
                    </a:cubicBezTo>
                    <a:lnTo>
                      <a:pt x="164862" y="1332000"/>
                    </a:lnTo>
                    <a:cubicBezTo>
                      <a:pt x="73811" y="1332000"/>
                      <a:pt x="0" y="1258189"/>
                      <a:pt x="0" y="1167138"/>
                    </a:cubicBezTo>
                    <a:lnTo>
                      <a:pt x="0" y="555"/>
                    </a:lnTo>
                    <a:close/>
                  </a:path>
                </a:pathLst>
              </a:custGeom>
              <a:solidFill>
                <a:srgbClr val="00749F"/>
              </a:solid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de-DE" sz="1200"/>
              </a:p>
            </p:txBody>
          </p:sp>
          <p:sp>
            <p:nvSpPr>
              <p:cNvPr id="40" name="Textfeld 40"/>
              <p:cNvSpPr txBox="1">
                <a:spLocks noChangeArrowheads="1"/>
              </p:cNvSpPr>
              <p:nvPr/>
            </p:nvSpPr>
            <p:spPr bwMode="auto">
              <a:xfrm>
                <a:off x="5288350" y="2744924"/>
                <a:ext cx="1765375" cy="923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ts val="1600"/>
                  </a:spcBef>
                  <a:defRPr sz="1700">
                    <a:solidFill>
                      <a:schemeClr val="tx1"/>
                    </a:solidFill>
                    <a:latin typeface="Arial" charset="0"/>
                  </a:defRPr>
                </a:lvl1pPr>
                <a:lvl2pPr marL="742950" indent="-285750">
                  <a:spcBef>
                    <a:spcPts val="1600"/>
                  </a:spcBef>
                  <a:buSzPct val="100000"/>
                  <a:buBlip>
                    <a:blip r:embed="rId2"/>
                  </a:buBlip>
                  <a:defRPr sz="1700">
                    <a:solidFill>
                      <a:schemeClr val="tx1"/>
                    </a:solidFill>
                    <a:latin typeface="Arial" charset="0"/>
                  </a:defRPr>
                </a:lvl2pPr>
                <a:lvl3pPr marL="1143000" indent="-228600">
                  <a:spcBef>
                    <a:spcPts val="1600"/>
                  </a:spcBef>
                  <a:buSzPct val="100000"/>
                  <a:buBlip>
                    <a:blip r:embed="rId2"/>
                  </a:buBlip>
                  <a:defRPr sz="1700">
                    <a:solidFill>
                      <a:schemeClr val="tx1"/>
                    </a:solidFill>
                    <a:latin typeface="Arial" charset="0"/>
                  </a:defRPr>
                </a:lvl3pPr>
                <a:lvl4pPr marL="1600200" indent="-228600">
                  <a:spcBef>
                    <a:spcPts val="1600"/>
                  </a:spcBef>
                  <a:buSzPct val="100000"/>
                  <a:buBlip>
                    <a:blip r:embed="rId2"/>
                  </a:buBlip>
                  <a:defRPr sz="1700">
                    <a:solidFill>
                      <a:schemeClr val="tx1"/>
                    </a:solidFill>
                    <a:latin typeface="Arial" charset="0"/>
                  </a:defRPr>
                </a:lvl4pPr>
                <a:lvl5pPr marL="2057400" indent="-228600">
                  <a:spcBef>
                    <a:spcPts val="1600"/>
                  </a:spcBef>
                  <a:buSzPct val="100000"/>
                  <a:buBlip>
                    <a:blip r:embed="rId2"/>
                  </a:buBlip>
                  <a:defRPr sz="1700">
                    <a:solidFill>
                      <a:schemeClr val="tx1"/>
                    </a:solidFill>
                    <a:latin typeface="Arial" charset="0"/>
                  </a:defRPr>
                </a:lvl5pPr>
                <a:lvl6pPr marL="2514600" indent="-228600" defTabSz="457200" eaLnBrk="0" fontAlgn="base" hangingPunct="0">
                  <a:spcBef>
                    <a:spcPts val="1600"/>
                  </a:spcBef>
                  <a:spcAft>
                    <a:spcPct val="0"/>
                  </a:spcAft>
                  <a:buSzPct val="100000"/>
                  <a:buBlip>
                    <a:blip r:embed="rId2"/>
                  </a:buBlip>
                  <a:defRPr sz="1700">
                    <a:solidFill>
                      <a:schemeClr val="tx1"/>
                    </a:solidFill>
                    <a:latin typeface="Arial" charset="0"/>
                  </a:defRPr>
                </a:lvl6pPr>
                <a:lvl7pPr marL="2971800" indent="-228600" defTabSz="457200" eaLnBrk="0" fontAlgn="base" hangingPunct="0">
                  <a:spcBef>
                    <a:spcPts val="1600"/>
                  </a:spcBef>
                  <a:spcAft>
                    <a:spcPct val="0"/>
                  </a:spcAft>
                  <a:buSzPct val="100000"/>
                  <a:buBlip>
                    <a:blip r:embed="rId2"/>
                  </a:buBlip>
                  <a:defRPr sz="1700">
                    <a:solidFill>
                      <a:schemeClr val="tx1"/>
                    </a:solidFill>
                    <a:latin typeface="Arial" charset="0"/>
                  </a:defRPr>
                </a:lvl7pPr>
                <a:lvl8pPr marL="3429000" indent="-228600" defTabSz="457200" eaLnBrk="0" fontAlgn="base" hangingPunct="0">
                  <a:spcBef>
                    <a:spcPts val="1600"/>
                  </a:spcBef>
                  <a:spcAft>
                    <a:spcPct val="0"/>
                  </a:spcAft>
                  <a:buSzPct val="100000"/>
                  <a:buBlip>
                    <a:blip r:embed="rId2"/>
                  </a:buBlip>
                  <a:defRPr sz="1700">
                    <a:solidFill>
                      <a:schemeClr val="tx1"/>
                    </a:solidFill>
                    <a:latin typeface="Arial" charset="0"/>
                  </a:defRPr>
                </a:lvl8pPr>
                <a:lvl9pPr marL="3886200" indent="-228600" defTabSz="457200" eaLnBrk="0" fontAlgn="base" hangingPunct="0">
                  <a:spcBef>
                    <a:spcPts val="1600"/>
                  </a:spcBef>
                  <a:spcAft>
                    <a:spcPct val="0"/>
                  </a:spcAft>
                  <a:buSzPct val="100000"/>
                  <a:buBlip>
                    <a:blip r:embed="rId2"/>
                  </a:buBlip>
                  <a:defRPr sz="1700">
                    <a:solidFill>
                      <a:schemeClr val="tx1"/>
                    </a:solidFill>
                    <a:latin typeface="Arial" charset="0"/>
                  </a:defRPr>
                </a:lvl9pPr>
              </a:lstStyle>
              <a:p>
                <a:pPr eaLnBrk="1" hangingPunct="1">
                  <a:spcBef>
                    <a:spcPct val="0"/>
                  </a:spcBef>
                </a:pPr>
                <a:r>
                  <a:rPr lang="de-DE" altLang="de-DE" sz="1800" b="1" dirty="0">
                    <a:solidFill>
                      <a:srgbClr val="00749F"/>
                    </a:solidFill>
                  </a:rPr>
                  <a:t>2</a:t>
                </a:r>
              </a:p>
              <a:p>
                <a:pPr eaLnBrk="1" hangingPunct="1">
                  <a:spcBef>
                    <a:spcPct val="0"/>
                  </a:spcBef>
                </a:pPr>
                <a:r>
                  <a:rPr lang="de-DE" altLang="de-DE" sz="1000" b="1" dirty="0">
                    <a:solidFill>
                      <a:srgbClr val="00749F"/>
                    </a:solidFill>
                  </a:rPr>
                  <a:t>Betriebsrente</a:t>
                </a:r>
              </a:p>
            </p:txBody>
          </p:sp>
          <p:cxnSp>
            <p:nvCxnSpPr>
              <p:cNvPr id="41" name="Gerade Verbindung 40"/>
              <p:cNvCxnSpPr/>
              <p:nvPr/>
            </p:nvCxnSpPr>
            <p:spPr>
              <a:xfrm>
                <a:off x="5289139" y="4399900"/>
                <a:ext cx="2847487"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42" name="Rechteck 42"/>
              <p:cNvSpPr>
                <a:spLocks noChangeArrowheads="1"/>
              </p:cNvSpPr>
              <p:nvPr/>
            </p:nvSpPr>
            <p:spPr bwMode="auto">
              <a:xfrm>
                <a:off x="5953292" y="3846531"/>
                <a:ext cx="1522205" cy="4616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ts val="1600"/>
                  </a:spcBef>
                  <a:defRPr sz="1700">
                    <a:solidFill>
                      <a:schemeClr val="tx1"/>
                    </a:solidFill>
                    <a:latin typeface="Arial" charset="0"/>
                  </a:defRPr>
                </a:lvl1pPr>
                <a:lvl2pPr marL="742950" indent="-285750">
                  <a:spcBef>
                    <a:spcPts val="1600"/>
                  </a:spcBef>
                  <a:buSzPct val="100000"/>
                  <a:buBlip>
                    <a:blip r:embed="rId2"/>
                  </a:buBlip>
                  <a:defRPr sz="1700">
                    <a:solidFill>
                      <a:schemeClr val="tx1"/>
                    </a:solidFill>
                    <a:latin typeface="Arial" charset="0"/>
                  </a:defRPr>
                </a:lvl2pPr>
                <a:lvl3pPr marL="1143000" indent="-228600">
                  <a:spcBef>
                    <a:spcPts val="1600"/>
                  </a:spcBef>
                  <a:buSzPct val="100000"/>
                  <a:buBlip>
                    <a:blip r:embed="rId2"/>
                  </a:buBlip>
                  <a:defRPr sz="1700">
                    <a:solidFill>
                      <a:schemeClr val="tx1"/>
                    </a:solidFill>
                    <a:latin typeface="Arial" charset="0"/>
                  </a:defRPr>
                </a:lvl3pPr>
                <a:lvl4pPr marL="1600200" indent="-228600">
                  <a:spcBef>
                    <a:spcPts val="1600"/>
                  </a:spcBef>
                  <a:buSzPct val="100000"/>
                  <a:buBlip>
                    <a:blip r:embed="rId2"/>
                  </a:buBlip>
                  <a:defRPr sz="1700">
                    <a:solidFill>
                      <a:schemeClr val="tx1"/>
                    </a:solidFill>
                    <a:latin typeface="Arial" charset="0"/>
                  </a:defRPr>
                </a:lvl4pPr>
                <a:lvl5pPr marL="2057400" indent="-228600">
                  <a:spcBef>
                    <a:spcPts val="1600"/>
                  </a:spcBef>
                  <a:buSzPct val="100000"/>
                  <a:buBlip>
                    <a:blip r:embed="rId2"/>
                  </a:buBlip>
                  <a:defRPr sz="1700">
                    <a:solidFill>
                      <a:schemeClr val="tx1"/>
                    </a:solidFill>
                    <a:latin typeface="Arial" charset="0"/>
                  </a:defRPr>
                </a:lvl5pPr>
                <a:lvl6pPr marL="2514600" indent="-228600" defTabSz="457200" eaLnBrk="0" fontAlgn="base" hangingPunct="0">
                  <a:spcBef>
                    <a:spcPts val="1600"/>
                  </a:spcBef>
                  <a:spcAft>
                    <a:spcPct val="0"/>
                  </a:spcAft>
                  <a:buSzPct val="100000"/>
                  <a:buBlip>
                    <a:blip r:embed="rId2"/>
                  </a:buBlip>
                  <a:defRPr sz="1700">
                    <a:solidFill>
                      <a:schemeClr val="tx1"/>
                    </a:solidFill>
                    <a:latin typeface="Arial" charset="0"/>
                  </a:defRPr>
                </a:lvl6pPr>
                <a:lvl7pPr marL="2971800" indent="-228600" defTabSz="457200" eaLnBrk="0" fontAlgn="base" hangingPunct="0">
                  <a:spcBef>
                    <a:spcPts val="1600"/>
                  </a:spcBef>
                  <a:spcAft>
                    <a:spcPct val="0"/>
                  </a:spcAft>
                  <a:buSzPct val="100000"/>
                  <a:buBlip>
                    <a:blip r:embed="rId2"/>
                  </a:buBlip>
                  <a:defRPr sz="1700">
                    <a:solidFill>
                      <a:schemeClr val="tx1"/>
                    </a:solidFill>
                    <a:latin typeface="Arial" charset="0"/>
                  </a:defRPr>
                </a:lvl7pPr>
                <a:lvl8pPr marL="3429000" indent="-228600" defTabSz="457200" eaLnBrk="0" fontAlgn="base" hangingPunct="0">
                  <a:spcBef>
                    <a:spcPts val="1600"/>
                  </a:spcBef>
                  <a:spcAft>
                    <a:spcPct val="0"/>
                  </a:spcAft>
                  <a:buSzPct val="100000"/>
                  <a:buBlip>
                    <a:blip r:embed="rId2"/>
                  </a:buBlip>
                  <a:defRPr sz="1700">
                    <a:solidFill>
                      <a:schemeClr val="tx1"/>
                    </a:solidFill>
                    <a:latin typeface="Arial" charset="0"/>
                  </a:defRPr>
                </a:lvl8pPr>
                <a:lvl9pPr marL="3886200" indent="-228600" defTabSz="457200" eaLnBrk="0" fontAlgn="base" hangingPunct="0">
                  <a:spcBef>
                    <a:spcPts val="1600"/>
                  </a:spcBef>
                  <a:spcAft>
                    <a:spcPct val="0"/>
                  </a:spcAft>
                  <a:buSzPct val="100000"/>
                  <a:buBlip>
                    <a:blip r:embed="rId2"/>
                  </a:buBlip>
                  <a:defRPr sz="1700">
                    <a:solidFill>
                      <a:schemeClr val="tx1"/>
                    </a:solidFill>
                    <a:latin typeface="Arial" charset="0"/>
                  </a:defRPr>
                </a:lvl9pPr>
              </a:lstStyle>
              <a:p>
                <a:pPr algn="ctr" eaLnBrk="1" hangingPunct="1">
                  <a:spcBef>
                    <a:spcPct val="0"/>
                  </a:spcBef>
                </a:pPr>
                <a:r>
                  <a:rPr lang="de-DE" altLang="de-DE" sz="800" b="1">
                    <a:solidFill>
                      <a:schemeClr val="bg1"/>
                    </a:solidFill>
                  </a:rPr>
                  <a:t>Mehrarbeit</a:t>
                </a:r>
                <a:endParaRPr lang="de-DE" altLang="de-DE" sz="700" b="1">
                  <a:solidFill>
                    <a:schemeClr val="bg1"/>
                  </a:solidFill>
                </a:endParaRPr>
              </a:p>
            </p:txBody>
          </p:sp>
          <p:sp>
            <p:nvSpPr>
              <p:cNvPr id="43" name="Rechteck 43"/>
              <p:cNvSpPr>
                <a:spLocks noChangeArrowheads="1"/>
              </p:cNvSpPr>
              <p:nvPr/>
            </p:nvSpPr>
            <p:spPr bwMode="auto">
              <a:xfrm>
                <a:off x="5597813" y="4409709"/>
                <a:ext cx="2233163" cy="7253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ts val="1600"/>
                  </a:spcBef>
                  <a:defRPr sz="1700">
                    <a:solidFill>
                      <a:schemeClr val="tx1"/>
                    </a:solidFill>
                    <a:latin typeface="Arial" charset="0"/>
                  </a:defRPr>
                </a:lvl1pPr>
                <a:lvl2pPr marL="742950" indent="-285750">
                  <a:spcBef>
                    <a:spcPts val="1600"/>
                  </a:spcBef>
                  <a:buSzPct val="100000"/>
                  <a:buBlip>
                    <a:blip r:embed="rId2"/>
                  </a:buBlip>
                  <a:defRPr sz="1700">
                    <a:solidFill>
                      <a:schemeClr val="tx1"/>
                    </a:solidFill>
                    <a:latin typeface="Arial" charset="0"/>
                  </a:defRPr>
                </a:lvl2pPr>
                <a:lvl3pPr marL="1143000" indent="-228600">
                  <a:spcBef>
                    <a:spcPts val="1600"/>
                  </a:spcBef>
                  <a:buSzPct val="100000"/>
                  <a:buBlip>
                    <a:blip r:embed="rId2"/>
                  </a:buBlip>
                  <a:defRPr sz="1700">
                    <a:solidFill>
                      <a:schemeClr val="tx1"/>
                    </a:solidFill>
                    <a:latin typeface="Arial" charset="0"/>
                  </a:defRPr>
                </a:lvl3pPr>
                <a:lvl4pPr marL="1600200" indent="-228600">
                  <a:spcBef>
                    <a:spcPts val="1600"/>
                  </a:spcBef>
                  <a:buSzPct val="100000"/>
                  <a:buBlip>
                    <a:blip r:embed="rId2"/>
                  </a:buBlip>
                  <a:defRPr sz="1700">
                    <a:solidFill>
                      <a:schemeClr val="tx1"/>
                    </a:solidFill>
                    <a:latin typeface="Arial" charset="0"/>
                  </a:defRPr>
                </a:lvl4pPr>
                <a:lvl5pPr marL="2057400" indent="-228600">
                  <a:spcBef>
                    <a:spcPts val="1600"/>
                  </a:spcBef>
                  <a:buSzPct val="100000"/>
                  <a:buBlip>
                    <a:blip r:embed="rId2"/>
                  </a:buBlip>
                  <a:defRPr sz="1700">
                    <a:solidFill>
                      <a:schemeClr val="tx1"/>
                    </a:solidFill>
                    <a:latin typeface="Arial" charset="0"/>
                  </a:defRPr>
                </a:lvl5pPr>
                <a:lvl6pPr marL="2514600" indent="-228600" defTabSz="457200" eaLnBrk="0" fontAlgn="base" hangingPunct="0">
                  <a:spcBef>
                    <a:spcPts val="1600"/>
                  </a:spcBef>
                  <a:spcAft>
                    <a:spcPct val="0"/>
                  </a:spcAft>
                  <a:buSzPct val="100000"/>
                  <a:buBlip>
                    <a:blip r:embed="rId2"/>
                  </a:buBlip>
                  <a:defRPr sz="1700">
                    <a:solidFill>
                      <a:schemeClr val="tx1"/>
                    </a:solidFill>
                    <a:latin typeface="Arial" charset="0"/>
                  </a:defRPr>
                </a:lvl6pPr>
                <a:lvl7pPr marL="2971800" indent="-228600" defTabSz="457200" eaLnBrk="0" fontAlgn="base" hangingPunct="0">
                  <a:spcBef>
                    <a:spcPts val="1600"/>
                  </a:spcBef>
                  <a:spcAft>
                    <a:spcPct val="0"/>
                  </a:spcAft>
                  <a:buSzPct val="100000"/>
                  <a:buBlip>
                    <a:blip r:embed="rId2"/>
                  </a:buBlip>
                  <a:defRPr sz="1700">
                    <a:solidFill>
                      <a:schemeClr val="tx1"/>
                    </a:solidFill>
                    <a:latin typeface="Arial" charset="0"/>
                  </a:defRPr>
                </a:lvl7pPr>
                <a:lvl8pPr marL="3429000" indent="-228600" defTabSz="457200" eaLnBrk="0" fontAlgn="base" hangingPunct="0">
                  <a:spcBef>
                    <a:spcPts val="1600"/>
                  </a:spcBef>
                  <a:spcAft>
                    <a:spcPct val="0"/>
                  </a:spcAft>
                  <a:buSzPct val="100000"/>
                  <a:buBlip>
                    <a:blip r:embed="rId2"/>
                  </a:buBlip>
                  <a:defRPr sz="1700">
                    <a:solidFill>
                      <a:schemeClr val="tx1"/>
                    </a:solidFill>
                    <a:latin typeface="Arial" charset="0"/>
                  </a:defRPr>
                </a:lvl8pPr>
                <a:lvl9pPr marL="3886200" indent="-228600" defTabSz="457200" eaLnBrk="0" fontAlgn="base" hangingPunct="0">
                  <a:spcBef>
                    <a:spcPts val="1600"/>
                  </a:spcBef>
                  <a:spcAft>
                    <a:spcPct val="0"/>
                  </a:spcAft>
                  <a:buSzPct val="100000"/>
                  <a:buBlip>
                    <a:blip r:embed="rId2"/>
                  </a:buBlip>
                  <a:defRPr sz="1700">
                    <a:solidFill>
                      <a:schemeClr val="tx1"/>
                    </a:solidFill>
                    <a:latin typeface="Arial" charset="0"/>
                  </a:defRPr>
                </a:lvl9pPr>
              </a:lstStyle>
              <a:p>
                <a:pPr algn="ctr" eaLnBrk="1" hangingPunct="1">
                  <a:spcBef>
                    <a:spcPct val="0"/>
                  </a:spcBef>
                </a:pPr>
                <a:r>
                  <a:rPr lang="de-DE" altLang="de-DE" sz="800" b="1">
                    <a:solidFill>
                      <a:schemeClr val="bg1"/>
                    </a:solidFill>
                  </a:rPr>
                  <a:t>betriebliche </a:t>
                </a:r>
                <a:br>
                  <a:rPr lang="de-DE" altLang="de-DE" sz="800" b="1">
                    <a:solidFill>
                      <a:schemeClr val="bg1"/>
                    </a:solidFill>
                  </a:rPr>
                </a:br>
                <a:r>
                  <a:rPr lang="de-DE" altLang="de-DE" sz="800" b="1">
                    <a:solidFill>
                      <a:schemeClr val="bg1"/>
                    </a:solidFill>
                  </a:rPr>
                  <a:t>Altersversorgung</a:t>
                </a:r>
              </a:p>
            </p:txBody>
          </p:sp>
          <p:sp>
            <p:nvSpPr>
              <p:cNvPr id="44" name="Plus 43"/>
              <p:cNvSpPr/>
              <p:nvPr/>
            </p:nvSpPr>
            <p:spPr>
              <a:xfrm>
                <a:off x="6462833" y="4148294"/>
                <a:ext cx="503498" cy="503213"/>
              </a:xfrm>
              <a:prstGeom prst="mathPlus">
                <a:avLst>
                  <a:gd name="adj1" fmla="val 13161"/>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de-DE" sz="1200"/>
              </a:p>
            </p:txBody>
          </p:sp>
        </p:grpSp>
      </p:grpSp>
      <p:sp>
        <p:nvSpPr>
          <p:cNvPr id="59" name="Rechteck 58"/>
          <p:cNvSpPr/>
          <p:nvPr/>
        </p:nvSpPr>
        <p:spPr bwMode="auto">
          <a:xfrm>
            <a:off x="7328734" y="3306637"/>
            <a:ext cx="1260000" cy="2016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de-DE" sz="1300" b="1" dirty="0"/>
              <a:t>Bis zu 450 Euro Lohn</a:t>
            </a:r>
          </a:p>
        </p:txBody>
      </p:sp>
      <p:sp>
        <p:nvSpPr>
          <p:cNvPr id="49" name="Eine Ecke des Rechtecks abrunden 48"/>
          <p:cNvSpPr/>
          <p:nvPr/>
        </p:nvSpPr>
        <p:spPr bwMode="auto">
          <a:xfrm>
            <a:off x="7328734" y="2552198"/>
            <a:ext cx="1260000" cy="720000"/>
          </a:xfrm>
          <a:prstGeom prst="round1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de-DE" sz="1300" b="1" dirty="0"/>
              <a:t>Aufbau</a:t>
            </a:r>
            <a:br>
              <a:rPr lang="de-DE" sz="1300" b="1" dirty="0"/>
            </a:br>
            <a:r>
              <a:rPr lang="de-DE" sz="1300" b="1" dirty="0"/>
              <a:t>Betriebs-rente</a:t>
            </a:r>
          </a:p>
        </p:txBody>
      </p:sp>
      <p:sp>
        <p:nvSpPr>
          <p:cNvPr id="61" name="Rechteck 60"/>
          <p:cNvSpPr/>
          <p:nvPr/>
        </p:nvSpPr>
        <p:spPr bwMode="auto">
          <a:xfrm>
            <a:off x="4787069" y="3303764"/>
            <a:ext cx="1260000" cy="2016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de-DE" sz="1300" b="1" dirty="0"/>
              <a:t>Regel-arbeitszeit</a:t>
            </a:r>
          </a:p>
        </p:txBody>
      </p:sp>
      <p:sp>
        <p:nvSpPr>
          <p:cNvPr id="62" name="Eine Ecke des Rechtecks abrunden 61"/>
          <p:cNvSpPr/>
          <p:nvPr/>
        </p:nvSpPr>
        <p:spPr bwMode="auto">
          <a:xfrm>
            <a:off x="4787069" y="2550595"/>
            <a:ext cx="1260000" cy="720000"/>
          </a:xfrm>
          <a:prstGeom prst="round1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de-DE" sz="1300" b="1" dirty="0"/>
              <a:t>Mehr-</a:t>
            </a:r>
            <a:br>
              <a:rPr lang="de-DE" sz="1300" b="1" dirty="0"/>
            </a:br>
            <a:r>
              <a:rPr lang="de-DE" sz="1300" b="1" dirty="0" err="1"/>
              <a:t>arbeit</a:t>
            </a:r>
            <a:endParaRPr lang="de-DE" sz="1300" b="1" dirty="0"/>
          </a:p>
        </p:txBody>
      </p:sp>
    </p:spTree>
    <p:extLst>
      <p:ext uri="{BB962C8B-B14F-4D97-AF65-F5344CB8AC3E}">
        <p14:creationId xmlns:p14="http://schemas.microsoft.com/office/powerpoint/2010/main" val="39486940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sz="2500" dirty="0"/>
              <a:t>Minijobben fürs Alter:</a:t>
            </a:r>
            <a:br>
              <a:rPr lang="de-DE" altLang="de-DE" sz="2500" dirty="0"/>
            </a:br>
            <a:r>
              <a:rPr lang="de-DE" altLang="de-DE" sz="2500" dirty="0"/>
              <a:t>Gesetzliche Rente + Betriebsrente = Solide Versorgung</a:t>
            </a:r>
            <a:endParaRPr lang="de-DE" sz="2500" dirty="0"/>
          </a:p>
        </p:txBody>
      </p:sp>
      <p:sp>
        <p:nvSpPr>
          <p:cNvPr id="36" name="Textplatzhalter 35"/>
          <p:cNvSpPr>
            <a:spLocks noGrp="1"/>
          </p:cNvSpPr>
          <p:nvPr>
            <p:ph type="body" sz="quarter" idx="21"/>
          </p:nvPr>
        </p:nvSpPr>
        <p:spPr>
          <a:xfrm>
            <a:off x="358775" y="2087563"/>
            <a:ext cx="8426449" cy="523220"/>
          </a:xfrm>
        </p:spPr>
        <p:txBody>
          <a:bodyPr/>
          <a:lstStyle/>
          <a:p>
            <a:r>
              <a:rPr lang="de-DE" altLang="de-DE" dirty="0"/>
              <a:t>Beziehen Sie weiterhin Lohn im Minijob-Status und bauen Sie dabei Ihre Altersversorgung auf.</a:t>
            </a:r>
          </a:p>
        </p:txBody>
      </p:sp>
      <p:sp>
        <p:nvSpPr>
          <p:cNvPr id="37" name="Textplatzhalter 36"/>
          <p:cNvSpPr>
            <a:spLocks noGrp="1"/>
          </p:cNvSpPr>
          <p:nvPr>
            <p:ph type="body" sz="quarter" idx="23"/>
          </p:nvPr>
        </p:nvSpPr>
        <p:spPr/>
        <p:txBody>
          <a:bodyPr/>
          <a:lstStyle/>
          <a:p>
            <a:endParaRPr lang="de-DE"/>
          </a:p>
        </p:txBody>
      </p:sp>
      <p:sp>
        <p:nvSpPr>
          <p:cNvPr id="19" name="Textplatzhalter 18"/>
          <p:cNvSpPr>
            <a:spLocks noGrp="1"/>
          </p:cNvSpPr>
          <p:nvPr>
            <p:ph type="body" sz="quarter" idx="24"/>
          </p:nvPr>
        </p:nvSpPr>
        <p:spPr/>
        <p:txBody>
          <a:bodyPr/>
          <a:lstStyle/>
          <a:p>
            <a:pPr>
              <a:defRPr/>
            </a:pPr>
            <a:r>
              <a:rPr lang="de-DE" dirty="0"/>
              <a:t>Mit Verzicht auf 3,7 % des Bruttolohns (Beitrag zugunsten Pflichtversicherung in DRV) und Aufbau der bAV durch Mehrarbeit, sichern Sie sich als Minijobber einen soliden Gesamt-Rentenanspruch.</a:t>
            </a:r>
          </a:p>
        </p:txBody>
      </p:sp>
      <p:sp>
        <p:nvSpPr>
          <p:cNvPr id="7" name="Textplatzhalter 6"/>
          <p:cNvSpPr>
            <a:spLocks noGrp="1"/>
          </p:cNvSpPr>
          <p:nvPr>
            <p:ph type="body" sz="quarter" idx="18"/>
          </p:nvPr>
        </p:nvSpPr>
        <p:spPr/>
        <p:txBody>
          <a:bodyPr/>
          <a:lstStyle/>
          <a:p>
            <a:r>
              <a:rPr lang="de-DE" altLang="de-DE" dirty="0"/>
              <a:t>3. Besondere bAV-Möglichkeiten für Minijobber</a:t>
            </a:r>
          </a:p>
        </p:txBody>
      </p:sp>
      <p:sp>
        <p:nvSpPr>
          <p:cNvPr id="8" name="Datumsplatzhalter 7"/>
          <p:cNvSpPr>
            <a:spLocks noGrp="1"/>
          </p:cNvSpPr>
          <p:nvPr>
            <p:ph type="dt" sz="half" idx="25"/>
          </p:nvPr>
        </p:nvSpPr>
        <p:spPr/>
        <p:txBody>
          <a:bodyPr/>
          <a:lstStyle/>
          <a:p>
            <a:r>
              <a:rPr lang="de-DE"/>
              <a:t>01.01.2020</a:t>
            </a:r>
            <a:endParaRPr lang="de-DE" dirty="0"/>
          </a:p>
        </p:txBody>
      </p:sp>
      <p:sp>
        <p:nvSpPr>
          <p:cNvPr id="9" name="Fußzeilenplatzhalter 8"/>
          <p:cNvSpPr>
            <a:spLocks noGrp="1"/>
          </p:cNvSpPr>
          <p:nvPr>
            <p:ph type="ftr" sz="quarter" idx="26"/>
          </p:nvPr>
        </p:nvSpPr>
        <p:spPr/>
        <p:txBody>
          <a:bodyPr/>
          <a:lstStyle/>
          <a:p>
            <a:r>
              <a:rPr lang="de-DE"/>
              <a:t>Präsentation für Arbeitnehmer</a:t>
            </a:r>
            <a:endParaRPr lang="de-DE" dirty="0"/>
          </a:p>
        </p:txBody>
      </p:sp>
      <p:sp>
        <p:nvSpPr>
          <p:cNvPr id="10" name="Foliennummernplatzhalter 9"/>
          <p:cNvSpPr>
            <a:spLocks noGrp="1"/>
          </p:cNvSpPr>
          <p:nvPr>
            <p:ph type="sldNum" sz="quarter" idx="27"/>
          </p:nvPr>
        </p:nvSpPr>
        <p:spPr/>
        <p:txBody>
          <a:bodyPr/>
          <a:lstStyle/>
          <a:p>
            <a:fld id="{BFE8ADF1-837C-463F-9856-54C2D771B21B}" type="slidenum">
              <a:rPr lang="de-DE" smtClean="0"/>
              <a:pPr/>
              <a:t>11</a:t>
            </a:fld>
            <a:endParaRPr lang="de-DE" dirty="0"/>
          </a:p>
        </p:txBody>
      </p:sp>
      <p:grpSp>
        <p:nvGrpSpPr>
          <p:cNvPr id="4" name="Gruppieren 3"/>
          <p:cNvGrpSpPr/>
          <p:nvPr/>
        </p:nvGrpSpPr>
        <p:grpSpPr>
          <a:xfrm>
            <a:off x="688644" y="2956587"/>
            <a:ext cx="7740650" cy="1901825"/>
            <a:chOff x="647700" y="2724571"/>
            <a:chExt cx="7740650" cy="1901825"/>
          </a:xfrm>
        </p:grpSpPr>
        <p:sp>
          <p:nvSpPr>
            <p:cNvPr id="12" name="Abgerundetes Rechteck 3"/>
            <p:cNvSpPr>
              <a:spLocks/>
            </p:cNvSpPr>
            <p:nvPr/>
          </p:nvSpPr>
          <p:spPr>
            <a:xfrm>
              <a:off x="3095625" y="2724571"/>
              <a:ext cx="1944688" cy="1901825"/>
            </a:xfrm>
            <a:custGeom>
              <a:avLst/>
              <a:gdLst>
                <a:gd name="connsiteX0" fmla="*/ 0 w 3600000"/>
                <a:gd name="connsiteY0" fmla="*/ 161927 h 2771775"/>
                <a:gd name="connsiteX1" fmla="*/ 161927 w 3600000"/>
                <a:gd name="connsiteY1" fmla="*/ 0 h 2771775"/>
                <a:gd name="connsiteX2" fmla="*/ 3438073 w 3600000"/>
                <a:gd name="connsiteY2" fmla="*/ 0 h 2771775"/>
                <a:gd name="connsiteX3" fmla="*/ 3600000 w 3600000"/>
                <a:gd name="connsiteY3" fmla="*/ 161927 h 2771775"/>
                <a:gd name="connsiteX4" fmla="*/ 3600000 w 3600000"/>
                <a:gd name="connsiteY4" fmla="*/ 2609848 h 2771775"/>
                <a:gd name="connsiteX5" fmla="*/ 3438073 w 3600000"/>
                <a:gd name="connsiteY5" fmla="*/ 2771775 h 2771775"/>
                <a:gd name="connsiteX6" fmla="*/ 161927 w 3600000"/>
                <a:gd name="connsiteY6" fmla="*/ 2771775 h 2771775"/>
                <a:gd name="connsiteX7" fmla="*/ 0 w 3600000"/>
                <a:gd name="connsiteY7" fmla="*/ 2609848 h 2771775"/>
                <a:gd name="connsiteX8" fmla="*/ 0 w 3600000"/>
                <a:gd name="connsiteY8" fmla="*/ 161927 h 2771775"/>
                <a:gd name="connsiteX0" fmla="*/ 0 w 3600000"/>
                <a:gd name="connsiteY0" fmla="*/ 246528 h 2856376"/>
                <a:gd name="connsiteX1" fmla="*/ 3438073 w 3600000"/>
                <a:gd name="connsiteY1" fmla="*/ 84601 h 2856376"/>
                <a:gd name="connsiteX2" fmla="*/ 3600000 w 3600000"/>
                <a:gd name="connsiteY2" fmla="*/ 246528 h 2856376"/>
                <a:gd name="connsiteX3" fmla="*/ 3600000 w 3600000"/>
                <a:gd name="connsiteY3" fmla="*/ 2694449 h 2856376"/>
                <a:gd name="connsiteX4" fmla="*/ 3438073 w 3600000"/>
                <a:gd name="connsiteY4" fmla="*/ 2856376 h 2856376"/>
                <a:gd name="connsiteX5" fmla="*/ 161927 w 3600000"/>
                <a:gd name="connsiteY5" fmla="*/ 2856376 h 2856376"/>
                <a:gd name="connsiteX6" fmla="*/ 0 w 3600000"/>
                <a:gd name="connsiteY6" fmla="*/ 2694449 h 2856376"/>
                <a:gd name="connsiteX7" fmla="*/ 0 w 3600000"/>
                <a:gd name="connsiteY7" fmla="*/ 246528 h 2856376"/>
                <a:gd name="connsiteX0" fmla="*/ 0 w 3600000"/>
                <a:gd name="connsiteY0" fmla="*/ 161927 h 2771775"/>
                <a:gd name="connsiteX1" fmla="*/ 3438073 w 3600000"/>
                <a:gd name="connsiteY1" fmla="*/ 0 h 2771775"/>
                <a:gd name="connsiteX2" fmla="*/ 3600000 w 3600000"/>
                <a:gd name="connsiteY2" fmla="*/ 161927 h 2771775"/>
                <a:gd name="connsiteX3" fmla="*/ 3600000 w 3600000"/>
                <a:gd name="connsiteY3" fmla="*/ 2609848 h 2771775"/>
                <a:gd name="connsiteX4" fmla="*/ 3438073 w 3600000"/>
                <a:gd name="connsiteY4" fmla="*/ 2771775 h 2771775"/>
                <a:gd name="connsiteX5" fmla="*/ 161927 w 3600000"/>
                <a:gd name="connsiteY5" fmla="*/ 2771775 h 2771775"/>
                <a:gd name="connsiteX6" fmla="*/ 0 w 3600000"/>
                <a:gd name="connsiteY6" fmla="*/ 2609848 h 2771775"/>
                <a:gd name="connsiteX7" fmla="*/ 0 w 3600000"/>
                <a:gd name="connsiteY7" fmla="*/ 161927 h 2771775"/>
                <a:gd name="connsiteX0" fmla="*/ 2381 w 3600000"/>
                <a:gd name="connsiteY0" fmla="*/ 2 h 2771775"/>
                <a:gd name="connsiteX1" fmla="*/ 3438073 w 3600000"/>
                <a:gd name="connsiteY1" fmla="*/ 0 h 2771775"/>
                <a:gd name="connsiteX2" fmla="*/ 3600000 w 3600000"/>
                <a:gd name="connsiteY2" fmla="*/ 161927 h 2771775"/>
                <a:gd name="connsiteX3" fmla="*/ 3600000 w 3600000"/>
                <a:gd name="connsiteY3" fmla="*/ 2609848 h 2771775"/>
                <a:gd name="connsiteX4" fmla="*/ 3438073 w 3600000"/>
                <a:gd name="connsiteY4" fmla="*/ 2771775 h 2771775"/>
                <a:gd name="connsiteX5" fmla="*/ 161927 w 3600000"/>
                <a:gd name="connsiteY5" fmla="*/ 2771775 h 2771775"/>
                <a:gd name="connsiteX6" fmla="*/ 0 w 3600000"/>
                <a:gd name="connsiteY6" fmla="*/ 2609848 h 2771775"/>
                <a:gd name="connsiteX7" fmla="*/ 2381 w 3600000"/>
                <a:gd name="connsiteY7" fmla="*/ 2 h 2771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0000" h="2771775">
                  <a:moveTo>
                    <a:pt x="2381" y="2"/>
                  </a:moveTo>
                  <a:lnTo>
                    <a:pt x="3438073" y="0"/>
                  </a:lnTo>
                  <a:cubicBezTo>
                    <a:pt x="3527503" y="0"/>
                    <a:pt x="3600000" y="72497"/>
                    <a:pt x="3600000" y="161927"/>
                  </a:cubicBezTo>
                  <a:lnTo>
                    <a:pt x="3600000" y="2609848"/>
                  </a:lnTo>
                  <a:cubicBezTo>
                    <a:pt x="3600000" y="2699278"/>
                    <a:pt x="3527503" y="2771775"/>
                    <a:pt x="3438073" y="2771775"/>
                  </a:cubicBezTo>
                  <a:lnTo>
                    <a:pt x="161927" y="2771775"/>
                  </a:lnTo>
                  <a:cubicBezTo>
                    <a:pt x="72497" y="2771775"/>
                    <a:pt x="0" y="2699278"/>
                    <a:pt x="0" y="2609848"/>
                  </a:cubicBezTo>
                  <a:cubicBezTo>
                    <a:pt x="794" y="1739899"/>
                    <a:pt x="1587" y="869951"/>
                    <a:pt x="2381" y="2"/>
                  </a:cubicBezTo>
                  <a:close/>
                </a:path>
              </a:pathLst>
            </a:custGeom>
            <a:solidFill>
              <a:schemeClr val="bg1"/>
            </a:solidFill>
            <a:ln w="12700">
              <a:solidFill>
                <a:schemeClr val="accent5"/>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de-DE"/>
            </a:p>
          </p:txBody>
        </p:sp>
        <p:sp>
          <p:nvSpPr>
            <p:cNvPr id="13" name="Abgerundetes Rechteck 3"/>
            <p:cNvSpPr>
              <a:spLocks/>
            </p:cNvSpPr>
            <p:nvPr/>
          </p:nvSpPr>
          <p:spPr>
            <a:xfrm>
              <a:off x="647700" y="2724571"/>
              <a:ext cx="1943100" cy="1901825"/>
            </a:xfrm>
            <a:custGeom>
              <a:avLst/>
              <a:gdLst>
                <a:gd name="connsiteX0" fmla="*/ 0 w 3600000"/>
                <a:gd name="connsiteY0" fmla="*/ 161927 h 2771775"/>
                <a:gd name="connsiteX1" fmla="*/ 161927 w 3600000"/>
                <a:gd name="connsiteY1" fmla="*/ 0 h 2771775"/>
                <a:gd name="connsiteX2" fmla="*/ 3438073 w 3600000"/>
                <a:gd name="connsiteY2" fmla="*/ 0 h 2771775"/>
                <a:gd name="connsiteX3" fmla="*/ 3600000 w 3600000"/>
                <a:gd name="connsiteY3" fmla="*/ 161927 h 2771775"/>
                <a:gd name="connsiteX4" fmla="*/ 3600000 w 3600000"/>
                <a:gd name="connsiteY4" fmla="*/ 2609848 h 2771775"/>
                <a:gd name="connsiteX5" fmla="*/ 3438073 w 3600000"/>
                <a:gd name="connsiteY5" fmla="*/ 2771775 h 2771775"/>
                <a:gd name="connsiteX6" fmla="*/ 161927 w 3600000"/>
                <a:gd name="connsiteY6" fmla="*/ 2771775 h 2771775"/>
                <a:gd name="connsiteX7" fmla="*/ 0 w 3600000"/>
                <a:gd name="connsiteY7" fmla="*/ 2609848 h 2771775"/>
                <a:gd name="connsiteX8" fmla="*/ 0 w 3600000"/>
                <a:gd name="connsiteY8" fmla="*/ 161927 h 2771775"/>
                <a:gd name="connsiteX0" fmla="*/ 0 w 3600000"/>
                <a:gd name="connsiteY0" fmla="*/ 246528 h 2856376"/>
                <a:gd name="connsiteX1" fmla="*/ 3438073 w 3600000"/>
                <a:gd name="connsiteY1" fmla="*/ 84601 h 2856376"/>
                <a:gd name="connsiteX2" fmla="*/ 3600000 w 3600000"/>
                <a:gd name="connsiteY2" fmla="*/ 246528 h 2856376"/>
                <a:gd name="connsiteX3" fmla="*/ 3600000 w 3600000"/>
                <a:gd name="connsiteY3" fmla="*/ 2694449 h 2856376"/>
                <a:gd name="connsiteX4" fmla="*/ 3438073 w 3600000"/>
                <a:gd name="connsiteY4" fmla="*/ 2856376 h 2856376"/>
                <a:gd name="connsiteX5" fmla="*/ 161927 w 3600000"/>
                <a:gd name="connsiteY5" fmla="*/ 2856376 h 2856376"/>
                <a:gd name="connsiteX6" fmla="*/ 0 w 3600000"/>
                <a:gd name="connsiteY6" fmla="*/ 2694449 h 2856376"/>
                <a:gd name="connsiteX7" fmla="*/ 0 w 3600000"/>
                <a:gd name="connsiteY7" fmla="*/ 246528 h 2856376"/>
                <a:gd name="connsiteX0" fmla="*/ 0 w 3600000"/>
                <a:gd name="connsiteY0" fmla="*/ 161927 h 2771775"/>
                <a:gd name="connsiteX1" fmla="*/ 3438073 w 3600000"/>
                <a:gd name="connsiteY1" fmla="*/ 0 h 2771775"/>
                <a:gd name="connsiteX2" fmla="*/ 3600000 w 3600000"/>
                <a:gd name="connsiteY2" fmla="*/ 161927 h 2771775"/>
                <a:gd name="connsiteX3" fmla="*/ 3600000 w 3600000"/>
                <a:gd name="connsiteY3" fmla="*/ 2609848 h 2771775"/>
                <a:gd name="connsiteX4" fmla="*/ 3438073 w 3600000"/>
                <a:gd name="connsiteY4" fmla="*/ 2771775 h 2771775"/>
                <a:gd name="connsiteX5" fmla="*/ 161927 w 3600000"/>
                <a:gd name="connsiteY5" fmla="*/ 2771775 h 2771775"/>
                <a:gd name="connsiteX6" fmla="*/ 0 w 3600000"/>
                <a:gd name="connsiteY6" fmla="*/ 2609848 h 2771775"/>
                <a:gd name="connsiteX7" fmla="*/ 0 w 3600000"/>
                <a:gd name="connsiteY7" fmla="*/ 161927 h 2771775"/>
                <a:gd name="connsiteX0" fmla="*/ 2381 w 3600000"/>
                <a:gd name="connsiteY0" fmla="*/ 2 h 2771775"/>
                <a:gd name="connsiteX1" fmla="*/ 3438073 w 3600000"/>
                <a:gd name="connsiteY1" fmla="*/ 0 h 2771775"/>
                <a:gd name="connsiteX2" fmla="*/ 3600000 w 3600000"/>
                <a:gd name="connsiteY2" fmla="*/ 161927 h 2771775"/>
                <a:gd name="connsiteX3" fmla="*/ 3600000 w 3600000"/>
                <a:gd name="connsiteY3" fmla="*/ 2609848 h 2771775"/>
                <a:gd name="connsiteX4" fmla="*/ 3438073 w 3600000"/>
                <a:gd name="connsiteY4" fmla="*/ 2771775 h 2771775"/>
                <a:gd name="connsiteX5" fmla="*/ 161927 w 3600000"/>
                <a:gd name="connsiteY5" fmla="*/ 2771775 h 2771775"/>
                <a:gd name="connsiteX6" fmla="*/ 0 w 3600000"/>
                <a:gd name="connsiteY6" fmla="*/ 2609848 h 2771775"/>
                <a:gd name="connsiteX7" fmla="*/ 2381 w 3600000"/>
                <a:gd name="connsiteY7" fmla="*/ 2 h 2771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0000" h="2771775">
                  <a:moveTo>
                    <a:pt x="2381" y="2"/>
                  </a:moveTo>
                  <a:lnTo>
                    <a:pt x="3438073" y="0"/>
                  </a:lnTo>
                  <a:cubicBezTo>
                    <a:pt x="3527503" y="0"/>
                    <a:pt x="3600000" y="72497"/>
                    <a:pt x="3600000" y="161927"/>
                  </a:cubicBezTo>
                  <a:lnTo>
                    <a:pt x="3600000" y="2609848"/>
                  </a:lnTo>
                  <a:cubicBezTo>
                    <a:pt x="3600000" y="2699278"/>
                    <a:pt x="3527503" y="2771775"/>
                    <a:pt x="3438073" y="2771775"/>
                  </a:cubicBezTo>
                  <a:lnTo>
                    <a:pt x="161927" y="2771775"/>
                  </a:lnTo>
                  <a:cubicBezTo>
                    <a:pt x="72497" y="2771775"/>
                    <a:pt x="0" y="2699278"/>
                    <a:pt x="0" y="2609848"/>
                  </a:cubicBezTo>
                  <a:cubicBezTo>
                    <a:pt x="794" y="1739899"/>
                    <a:pt x="1587" y="869951"/>
                    <a:pt x="2381" y="2"/>
                  </a:cubicBezTo>
                  <a:close/>
                </a:path>
              </a:pathLst>
            </a:custGeom>
            <a:solidFill>
              <a:schemeClr val="bg1"/>
            </a:solidFill>
            <a:ln w="12700">
              <a:solidFill>
                <a:schemeClr val="accent5"/>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de-DE"/>
            </a:p>
          </p:txBody>
        </p:sp>
        <p:grpSp>
          <p:nvGrpSpPr>
            <p:cNvPr id="14" name="Gruppieren 13"/>
            <p:cNvGrpSpPr>
              <a:grpSpLocks/>
            </p:cNvGrpSpPr>
            <p:nvPr/>
          </p:nvGrpSpPr>
          <p:grpSpPr bwMode="auto">
            <a:xfrm>
              <a:off x="790575" y="2724571"/>
              <a:ext cx="1657350" cy="1781175"/>
              <a:chOff x="935908" y="3087397"/>
              <a:chExt cx="1658300" cy="1781671"/>
            </a:xfrm>
          </p:grpSpPr>
          <p:sp>
            <p:nvSpPr>
              <p:cNvPr id="17" name="Textfeld 30"/>
              <p:cNvSpPr txBox="1">
                <a:spLocks noChangeArrowheads="1"/>
              </p:cNvSpPr>
              <p:nvPr/>
            </p:nvSpPr>
            <p:spPr bwMode="auto">
              <a:xfrm>
                <a:off x="938209" y="3087397"/>
                <a:ext cx="1540486" cy="8694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a:spcBef>
                    <a:spcPts val="1600"/>
                  </a:spcBef>
                  <a:defRPr sz="1700">
                    <a:solidFill>
                      <a:schemeClr val="tx1"/>
                    </a:solidFill>
                    <a:latin typeface="Arial" charset="0"/>
                  </a:defRPr>
                </a:lvl1pPr>
                <a:lvl2pPr marL="742950" indent="-285750">
                  <a:spcBef>
                    <a:spcPts val="1600"/>
                  </a:spcBef>
                  <a:buSzPct val="100000"/>
                  <a:buBlip>
                    <a:blip r:embed="rId2"/>
                  </a:buBlip>
                  <a:defRPr sz="1700">
                    <a:solidFill>
                      <a:schemeClr val="tx1"/>
                    </a:solidFill>
                    <a:latin typeface="Arial" charset="0"/>
                  </a:defRPr>
                </a:lvl2pPr>
                <a:lvl3pPr marL="1143000" indent="-228600">
                  <a:spcBef>
                    <a:spcPts val="1600"/>
                  </a:spcBef>
                  <a:buSzPct val="100000"/>
                  <a:buBlip>
                    <a:blip r:embed="rId2"/>
                  </a:buBlip>
                  <a:defRPr sz="1700">
                    <a:solidFill>
                      <a:schemeClr val="tx1"/>
                    </a:solidFill>
                    <a:latin typeface="Arial" charset="0"/>
                  </a:defRPr>
                </a:lvl3pPr>
                <a:lvl4pPr marL="1600200" indent="-228600">
                  <a:spcBef>
                    <a:spcPts val="1600"/>
                  </a:spcBef>
                  <a:buSzPct val="100000"/>
                  <a:buBlip>
                    <a:blip r:embed="rId2"/>
                  </a:buBlip>
                  <a:defRPr sz="1700">
                    <a:solidFill>
                      <a:schemeClr val="tx1"/>
                    </a:solidFill>
                    <a:latin typeface="Arial" charset="0"/>
                  </a:defRPr>
                </a:lvl4pPr>
                <a:lvl5pPr marL="2057400" indent="-228600">
                  <a:spcBef>
                    <a:spcPts val="1600"/>
                  </a:spcBef>
                  <a:buSzPct val="100000"/>
                  <a:buBlip>
                    <a:blip r:embed="rId2"/>
                  </a:buBlip>
                  <a:defRPr sz="1700">
                    <a:solidFill>
                      <a:schemeClr val="tx1"/>
                    </a:solidFill>
                    <a:latin typeface="Arial" charset="0"/>
                  </a:defRPr>
                </a:lvl5pPr>
                <a:lvl6pPr marL="2514600" indent="-228600" defTabSz="457200" eaLnBrk="0" fontAlgn="base" hangingPunct="0">
                  <a:spcBef>
                    <a:spcPts val="1600"/>
                  </a:spcBef>
                  <a:spcAft>
                    <a:spcPct val="0"/>
                  </a:spcAft>
                  <a:buSzPct val="100000"/>
                  <a:buBlip>
                    <a:blip r:embed="rId2"/>
                  </a:buBlip>
                  <a:defRPr sz="1700">
                    <a:solidFill>
                      <a:schemeClr val="tx1"/>
                    </a:solidFill>
                    <a:latin typeface="Arial" charset="0"/>
                  </a:defRPr>
                </a:lvl6pPr>
                <a:lvl7pPr marL="2971800" indent="-228600" defTabSz="457200" eaLnBrk="0" fontAlgn="base" hangingPunct="0">
                  <a:spcBef>
                    <a:spcPts val="1600"/>
                  </a:spcBef>
                  <a:spcAft>
                    <a:spcPct val="0"/>
                  </a:spcAft>
                  <a:buSzPct val="100000"/>
                  <a:buBlip>
                    <a:blip r:embed="rId2"/>
                  </a:buBlip>
                  <a:defRPr sz="1700">
                    <a:solidFill>
                      <a:schemeClr val="tx1"/>
                    </a:solidFill>
                    <a:latin typeface="Arial" charset="0"/>
                  </a:defRPr>
                </a:lvl7pPr>
                <a:lvl8pPr marL="3429000" indent="-228600" defTabSz="457200" eaLnBrk="0" fontAlgn="base" hangingPunct="0">
                  <a:spcBef>
                    <a:spcPts val="1600"/>
                  </a:spcBef>
                  <a:spcAft>
                    <a:spcPct val="0"/>
                  </a:spcAft>
                  <a:buSzPct val="100000"/>
                  <a:buBlip>
                    <a:blip r:embed="rId2"/>
                  </a:buBlip>
                  <a:defRPr sz="1700">
                    <a:solidFill>
                      <a:schemeClr val="tx1"/>
                    </a:solidFill>
                    <a:latin typeface="Arial" charset="0"/>
                  </a:defRPr>
                </a:lvl8pPr>
                <a:lvl9pPr marL="3886200" indent="-228600" defTabSz="457200" eaLnBrk="0" fontAlgn="base" hangingPunct="0">
                  <a:spcBef>
                    <a:spcPts val="1600"/>
                  </a:spcBef>
                  <a:spcAft>
                    <a:spcPct val="0"/>
                  </a:spcAft>
                  <a:buSzPct val="100000"/>
                  <a:buBlip>
                    <a:blip r:embed="rId2"/>
                  </a:buBlip>
                  <a:defRPr sz="1700">
                    <a:solidFill>
                      <a:schemeClr val="tx1"/>
                    </a:solidFill>
                    <a:latin typeface="Arial" charset="0"/>
                  </a:defRPr>
                </a:lvl9pPr>
              </a:lstStyle>
              <a:p>
                <a:pPr eaLnBrk="1" hangingPunct="1">
                  <a:spcBef>
                    <a:spcPct val="0"/>
                  </a:spcBef>
                  <a:spcAft>
                    <a:spcPts val="300"/>
                  </a:spcAft>
                </a:pPr>
                <a:r>
                  <a:rPr lang="de-DE" altLang="de-DE" sz="4000" b="1" dirty="0">
                    <a:solidFill>
                      <a:schemeClr val="tx2"/>
                    </a:solidFill>
                  </a:rPr>
                  <a:t>1</a:t>
                </a:r>
              </a:p>
              <a:p>
                <a:pPr eaLnBrk="1" hangingPunct="1">
                  <a:spcBef>
                    <a:spcPct val="0"/>
                  </a:spcBef>
                </a:pPr>
                <a:r>
                  <a:rPr lang="de-DE" altLang="de-DE" sz="1400" b="1" dirty="0">
                    <a:solidFill>
                      <a:schemeClr val="tx2"/>
                    </a:solidFill>
                  </a:rPr>
                  <a:t>Gesetzliche Rente</a:t>
                </a:r>
              </a:p>
            </p:txBody>
          </p:sp>
          <p:sp>
            <p:nvSpPr>
              <p:cNvPr id="18" name="Abgerundetes Rechteck 2"/>
              <p:cNvSpPr/>
              <p:nvPr/>
            </p:nvSpPr>
            <p:spPr>
              <a:xfrm>
                <a:off x="937497" y="4041751"/>
                <a:ext cx="1656711" cy="827317"/>
              </a:xfrm>
              <a:custGeom>
                <a:avLst/>
                <a:gdLst>
                  <a:gd name="connsiteX0" fmla="*/ 0 w 2844000"/>
                  <a:gd name="connsiteY0" fmla="*/ 164862 h 1332000"/>
                  <a:gd name="connsiteX1" fmla="*/ 164862 w 2844000"/>
                  <a:gd name="connsiteY1" fmla="*/ 0 h 1332000"/>
                  <a:gd name="connsiteX2" fmla="*/ 2679138 w 2844000"/>
                  <a:gd name="connsiteY2" fmla="*/ 0 h 1332000"/>
                  <a:gd name="connsiteX3" fmla="*/ 2844000 w 2844000"/>
                  <a:gd name="connsiteY3" fmla="*/ 164862 h 1332000"/>
                  <a:gd name="connsiteX4" fmla="*/ 2844000 w 2844000"/>
                  <a:gd name="connsiteY4" fmla="*/ 1167138 h 1332000"/>
                  <a:gd name="connsiteX5" fmla="*/ 2679138 w 2844000"/>
                  <a:gd name="connsiteY5" fmla="*/ 1332000 h 1332000"/>
                  <a:gd name="connsiteX6" fmla="*/ 164862 w 2844000"/>
                  <a:gd name="connsiteY6" fmla="*/ 1332000 h 1332000"/>
                  <a:gd name="connsiteX7" fmla="*/ 0 w 2844000"/>
                  <a:gd name="connsiteY7" fmla="*/ 1167138 h 1332000"/>
                  <a:gd name="connsiteX8" fmla="*/ 0 w 2844000"/>
                  <a:gd name="connsiteY8" fmla="*/ 164862 h 1332000"/>
                  <a:gd name="connsiteX0" fmla="*/ 0 w 2844000"/>
                  <a:gd name="connsiteY0" fmla="*/ 166481 h 1333619"/>
                  <a:gd name="connsiteX1" fmla="*/ 2679138 w 2844000"/>
                  <a:gd name="connsiteY1" fmla="*/ 1619 h 1333619"/>
                  <a:gd name="connsiteX2" fmla="*/ 2844000 w 2844000"/>
                  <a:gd name="connsiteY2" fmla="*/ 166481 h 1333619"/>
                  <a:gd name="connsiteX3" fmla="*/ 2844000 w 2844000"/>
                  <a:gd name="connsiteY3" fmla="*/ 1168757 h 1333619"/>
                  <a:gd name="connsiteX4" fmla="*/ 2679138 w 2844000"/>
                  <a:gd name="connsiteY4" fmla="*/ 1333619 h 1333619"/>
                  <a:gd name="connsiteX5" fmla="*/ 164862 w 2844000"/>
                  <a:gd name="connsiteY5" fmla="*/ 1333619 h 1333619"/>
                  <a:gd name="connsiteX6" fmla="*/ 0 w 2844000"/>
                  <a:gd name="connsiteY6" fmla="*/ 1168757 h 1333619"/>
                  <a:gd name="connsiteX7" fmla="*/ 0 w 2844000"/>
                  <a:gd name="connsiteY7" fmla="*/ 166481 h 1333619"/>
                  <a:gd name="connsiteX0" fmla="*/ 0 w 2844000"/>
                  <a:gd name="connsiteY0" fmla="*/ 164862 h 1332000"/>
                  <a:gd name="connsiteX1" fmla="*/ 2679138 w 2844000"/>
                  <a:gd name="connsiteY1" fmla="*/ 0 h 1332000"/>
                  <a:gd name="connsiteX2" fmla="*/ 2844000 w 2844000"/>
                  <a:gd name="connsiteY2" fmla="*/ 164862 h 1332000"/>
                  <a:gd name="connsiteX3" fmla="*/ 2844000 w 2844000"/>
                  <a:gd name="connsiteY3" fmla="*/ 1167138 h 1332000"/>
                  <a:gd name="connsiteX4" fmla="*/ 2679138 w 2844000"/>
                  <a:gd name="connsiteY4" fmla="*/ 1332000 h 1332000"/>
                  <a:gd name="connsiteX5" fmla="*/ 164862 w 2844000"/>
                  <a:gd name="connsiteY5" fmla="*/ 1332000 h 1332000"/>
                  <a:gd name="connsiteX6" fmla="*/ 0 w 2844000"/>
                  <a:gd name="connsiteY6" fmla="*/ 1167138 h 1332000"/>
                  <a:gd name="connsiteX7" fmla="*/ 0 w 2844000"/>
                  <a:gd name="connsiteY7" fmla="*/ 164862 h 1332000"/>
                  <a:gd name="connsiteX0" fmla="*/ 0 w 2844000"/>
                  <a:gd name="connsiteY0" fmla="*/ 555 h 1332000"/>
                  <a:gd name="connsiteX1" fmla="*/ 2679138 w 2844000"/>
                  <a:gd name="connsiteY1" fmla="*/ 0 h 1332000"/>
                  <a:gd name="connsiteX2" fmla="*/ 2844000 w 2844000"/>
                  <a:gd name="connsiteY2" fmla="*/ 164862 h 1332000"/>
                  <a:gd name="connsiteX3" fmla="*/ 2844000 w 2844000"/>
                  <a:gd name="connsiteY3" fmla="*/ 1167138 h 1332000"/>
                  <a:gd name="connsiteX4" fmla="*/ 2679138 w 2844000"/>
                  <a:gd name="connsiteY4" fmla="*/ 1332000 h 1332000"/>
                  <a:gd name="connsiteX5" fmla="*/ 164862 w 2844000"/>
                  <a:gd name="connsiteY5" fmla="*/ 1332000 h 1332000"/>
                  <a:gd name="connsiteX6" fmla="*/ 0 w 2844000"/>
                  <a:gd name="connsiteY6" fmla="*/ 1167138 h 1332000"/>
                  <a:gd name="connsiteX7" fmla="*/ 0 w 2844000"/>
                  <a:gd name="connsiteY7" fmla="*/ 555 h 133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44000" h="1332000">
                    <a:moveTo>
                      <a:pt x="0" y="555"/>
                    </a:moveTo>
                    <a:lnTo>
                      <a:pt x="2679138" y="0"/>
                    </a:lnTo>
                    <a:cubicBezTo>
                      <a:pt x="2770189" y="0"/>
                      <a:pt x="2844000" y="73811"/>
                      <a:pt x="2844000" y="164862"/>
                    </a:cubicBezTo>
                    <a:lnTo>
                      <a:pt x="2844000" y="1167138"/>
                    </a:lnTo>
                    <a:cubicBezTo>
                      <a:pt x="2844000" y="1258189"/>
                      <a:pt x="2770189" y="1332000"/>
                      <a:pt x="2679138" y="1332000"/>
                    </a:cubicBezTo>
                    <a:lnTo>
                      <a:pt x="164862" y="1332000"/>
                    </a:lnTo>
                    <a:cubicBezTo>
                      <a:pt x="73811" y="1332000"/>
                      <a:pt x="0" y="1258189"/>
                      <a:pt x="0" y="1167138"/>
                    </a:cubicBezTo>
                    <a:lnTo>
                      <a:pt x="0" y="555"/>
                    </a:lnTo>
                    <a:close/>
                  </a:path>
                </a:pathLst>
              </a:custGeom>
              <a:solidFill>
                <a:schemeClr val="tx2"/>
              </a:solid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de-DE" sz="1200"/>
              </a:p>
            </p:txBody>
          </p:sp>
          <p:cxnSp>
            <p:nvCxnSpPr>
              <p:cNvPr id="20" name="Gerade Verbindung 19"/>
              <p:cNvCxnSpPr/>
              <p:nvPr/>
            </p:nvCxnSpPr>
            <p:spPr>
              <a:xfrm>
                <a:off x="935908" y="4454616"/>
                <a:ext cx="1656712"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21" name="Rechteck 33"/>
              <p:cNvSpPr>
                <a:spLocks noChangeArrowheads="1"/>
              </p:cNvSpPr>
              <p:nvPr/>
            </p:nvSpPr>
            <p:spPr bwMode="auto">
              <a:xfrm>
                <a:off x="1402968" y="4092066"/>
                <a:ext cx="72648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ts val="1600"/>
                  </a:spcBef>
                  <a:defRPr sz="1700">
                    <a:solidFill>
                      <a:schemeClr val="tx1"/>
                    </a:solidFill>
                    <a:latin typeface="Arial" charset="0"/>
                  </a:defRPr>
                </a:lvl1pPr>
                <a:lvl2pPr marL="742950" indent="-285750">
                  <a:spcBef>
                    <a:spcPts val="1600"/>
                  </a:spcBef>
                  <a:buSzPct val="100000"/>
                  <a:buBlip>
                    <a:blip r:embed="rId2"/>
                  </a:buBlip>
                  <a:defRPr sz="1700">
                    <a:solidFill>
                      <a:schemeClr val="tx1"/>
                    </a:solidFill>
                    <a:latin typeface="Arial" charset="0"/>
                  </a:defRPr>
                </a:lvl2pPr>
                <a:lvl3pPr marL="1143000" indent="-228600">
                  <a:spcBef>
                    <a:spcPts val="1600"/>
                  </a:spcBef>
                  <a:buSzPct val="100000"/>
                  <a:buBlip>
                    <a:blip r:embed="rId2"/>
                  </a:buBlip>
                  <a:defRPr sz="1700">
                    <a:solidFill>
                      <a:schemeClr val="tx1"/>
                    </a:solidFill>
                    <a:latin typeface="Arial" charset="0"/>
                  </a:defRPr>
                </a:lvl3pPr>
                <a:lvl4pPr marL="1600200" indent="-228600">
                  <a:spcBef>
                    <a:spcPts val="1600"/>
                  </a:spcBef>
                  <a:buSzPct val="100000"/>
                  <a:buBlip>
                    <a:blip r:embed="rId2"/>
                  </a:buBlip>
                  <a:defRPr sz="1700">
                    <a:solidFill>
                      <a:schemeClr val="tx1"/>
                    </a:solidFill>
                    <a:latin typeface="Arial" charset="0"/>
                  </a:defRPr>
                </a:lvl4pPr>
                <a:lvl5pPr marL="2057400" indent="-228600">
                  <a:spcBef>
                    <a:spcPts val="1600"/>
                  </a:spcBef>
                  <a:buSzPct val="100000"/>
                  <a:buBlip>
                    <a:blip r:embed="rId2"/>
                  </a:buBlip>
                  <a:defRPr sz="1700">
                    <a:solidFill>
                      <a:schemeClr val="tx1"/>
                    </a:solidFill>
                    <a:latin typeface="Arial" charset="0"/>
                  </a:defRPr>
                </a:lvl5pPr>
                <a:lvl6pPr marL="2514600" indent="-228600" defTabSz="457200" eaLnBrk="0" fontAlgn="base" hangingPunct="0">
                  <a:spcBef>
                    <a:spcPts val="1600"/>
                  </a:spcBef>
                  <a:spcAft>
                    <a:spcPct val="0"/>
                  </a:spcAft>
                  <a:buSzPct val="100000"/>
                  <a:buBlip>
                    <a:blip r:embed="rId2"/>
                  </a:buBlip>
                  <a:defRPr sz="1700">
                    <a:solidFill>
                      <a:schemeClr val="tx1"/>
                    </a:solidFill>
                    <a:latin typeface="Arial" charset="0"/>
                  </a:defRPr>
                </a:lvl6pPr>
                <a:lvl7pPr marL="2971800" indent="-228600" defTabSz="457200" eaLnBrk="0" fontAlgn="base" hangingPunct="0">
                  <a:spcBef>
                    <a:spcPts val="1600"/>
                  </a:spcBef>
                  <a:spcAft>
                    <a:spcPct val="0"/>
                  </a:spcAft>
                  <a:buSzPct val="100000"/>
                  <a:buBlip>
                    <a:blip r:embed="rId2"/>
                  </a:buBlip>
                  <a:defRPr sz="1700">
                    <a:solidFill>
                      <a:schemeClr val="tx1"/>
                    </a:solidFill>
                    <a:latin typeface="Arial" charset="0"/>
                  </a:defRPr>
                </a:lvl7pPr>
                <a:lvl8pPr marL="3429000" indent="-228600" defTabSz="457200" eaLnBrk="0" fontAlgn="base" hangingPunct="0">
                  <a:spcBef>
                    <a:spcPts val="1600"/>
                  </a:spcBef>
                  <a:spcAft>
                    <a:spcPct val="0"/>
                  </a:spcAft>
                  <a:buSzPct val="100000"/>
                  <a:buBlip>
                    <a:blip r:embed="rId2"/>
                  </a:buBlip>
                  <a:defRPr sz="1700">
                    <a:solidFill>
                      <a:schemeClr val="tx1"/>
                    </a:solidFill>
                    <a:latin typeface="Arial" charset="0"/>
                  </a:defRPr>
                </a:lvl8pPr>
                <a:lvl9pPr marL="3886200" indent="-228600" defTabSz="457200" eaLnBrk="0" fontAlgn="base" hangingPunct="0">
                  <a:spcBef>
                    <a:spcPts val="1600"/>
                  </a:spcBef>
                  <a:spcAft>
                    <a:spcPct val="0"/>
                  </a:spcAft>
                  <a:buSzPct val="100000"/>
                  <a:buBlip>
                    <a:blip r:embed="rId2"/>
                  </a:buBlip>
                  <a:defRPr sz="1700">
                    <a:solidFill>
                      <a:schemeClr val="tx1"/>
                    </a:solidFill>
                    <a:latin typeface="Arial" charset="0"/>
                  </a:defRPr>
                </a:lvl9pPr>
              </a:lstStyle>
              <a:p>
                <a:pPr algn="ctr" eaLnBrk="1" hangingPunct="1">
                  <a:spcBef>
                    <a:spcPct val="0"/>
                  </a:spcBef>
                </a:pPr>
                <a:r>
                  <a:rPr lang="de-DE" altLang="de-DE" sz="1200" b="1">
                    <a:solidFill>
                      <a:schemeClr val="bg1"/>
                    </a:solidFill>
                  </a:rPr>
                  <a:t>Minijob</a:t>
                </a:r>
              </a:p>
            </p:txBody>
          </p:sp>
          <p:sp>
            <p:nvSpPr>
              <p:cNvPr id="22" name="Rechteck 34"/>
              <p:cNvSpPr>
                <a:spLocks noChangeArrowheads="1"/>
              </p:cNvSpPr>
              <p:nvPr/>
            </p:nvSpPr>
            <p:spPr bwMode="auto">
              <a:xfrm>
                <a:off x="955730" y="4520153"/>
                <a:ext cx="162095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ts val="1600"/>
                  </a:spcBef>
                  <a:defRPr sz="1700">
                    <a:solidFill>
                      <a:schemeClr val="tx1"/>
                    </a:solidFill>
                    <a:latin typeface="Arial" charset="0"/>
                  </a:defRPr>
                </a:lvl1pPr>
                <a:lvl2pPr marL="742950" indent="-285750">
                  <a:spcBef>
                    <a:spcPts val="1600"/>
                  </a:spcBef>
                  <a:buSzPct val="100000"/>
                  <a:buBlip>
                    <a:blip r:embed="rId2"/>
                  </a:buBlip>
                  <a:defRPr sz="1700">
                    <a:solidFill>
                      <a:schemeClr val="tx1"/>
                    </a:solidFill>
                    <a:latin typeface="Arial" charset="0"/>
                  </a:defRPr>
                </a:lvl2pPr>
                <a:lvl3pPr marL="1143000" indent="-228600">
                  <a:spcBef>
                    <a:spcPts val="1600"/>
                  </a:spcBef>
                  <a:buSzPct val="100000"/>
                  <a:buBlip>
                    <a:blip r:embed="rId2"/>
                  </a:buBlip>
                  <a:defRPr sz="1700">
                    <a:solidFill>
                      <a:schemeClr val="tx1"/>
                    </a:solidFill>
                    <a:latin typeface="Arial" charset="0"/>
                  </a:defRPr>
                </a:lvl3pPr>
                <a:lvl4pPr marL="1600200" indent="-228600">
                  <a:spcBef>
                    <a:spcPts val="1600"/>
                  </a:spcBef>
                  <a:buSzPct val="100000"/>
                  <a:buBlip>
                    <a:blip r:embed="rId2"/>
                  </a:buBlip>
                  <a:defRPr sz="1700">
                    <a:solidFill>
                      <a:schemeClr val="tx1"/>
                    </a:solidFill>
                    <a:latin typeface="Arial" charset="0"/>
                  </a:defRPr>
                </a:lvl4pPr>
                <a:lvl5pPr marL="2057400" indent="-228600">
                  <a:spcBef>
                    <a:spcPts val="1600"/>
                  </a:spcBef>
                  <a:buSzPct val="100000"/>
                  <a:buBlip>
                    <a:blip r:embed="rId2"/>
                  </a:buBlip>
                  <a:defRPr sz="1700">
                    <a:solidFill>
                      <a:schemeClr val="tx1"/>
                    </a:solidFill>
                    <a:latin typeface="Arial" charset="0"/>
                  </a:defRPr>
                </a:lvl5pPr>
                <a:lvl6pPr marL="2514600" indent="-228600" defTabSz="457200" eaLnBrk="0" fontAlgn="base" hangingPunct="0">
                  <a:spcBef>
                    <a:spcPts val="1600"/>
                  </a:spcBef>
                  <a:spcAft>
                    <a:spcPct val="0"/>
                  </a:spcAft>
                  <a:buSzPct val="100000"/>
                  <a:buBlip>
                    <a:blip r:embed="rId2"/>
                  </a:buBlip>
                  <a:defRPr sz="1700">
                    <a:solidFill>
                      <a:schemeClr val="tx1"/>
                    </a:solidFill>
                    <a:latin typeface="Arial" charset="0"/>
                  </a:defRPr>
                </a:lvl6pPr>
                <a:lvl7pPr marL="2971800" indent="-228600" defTabSz="457200" eaLnBrk="0" fontAlgn="base" hangingPunct="0">
                  <a:spcBef>
                    <a:spcPts val="1600"/>
                  </a:spcBef>
                  <a:spcAft>
                    <a:spcPct val="0"/>
                  </a:spcAft>
                  <a:buSzPct val="100000"/>
                  <a:buBlip>
                    <a:blip r:embed="rId2"/>
                  </a:buBlip>
                  <a:defRPr sz="1700">
                    <a:solidFill>
                      <a:schemeClr val="tx1"/>
                    </a:solidFill>
                    <a:latin typeface="Arial" charset="0"/>
                  </a:defRPr>
                </a:lvl7pPr>
                <a:lvl8pPr marL="3429000" indent="-228600" defTabSz="457200" eaLnBrk="0" fontAlgn="base" hangingPunct="0">
                  <a:spcBef>
                    <a:spcPts val="1600"/>
                  </a:spcBef>
                  <a:spcAft>
                    <a:spcPct val="0"/>
                  </a:spcAft>
                  <a:buSzPct val="100000"/>
                  <a:buBlip>
                    <a:blip r:embed="rId2"/>
                  </a:buBlip>
                  <a:defRPr sz="1700">
                    <a:solidFill>
                      <a:schemeClr val="tx1"/>
                    </a:solidFill>
                    <a:latin typeface="Arial" charset="0"/>
                  </a:defRPr>
                </a:lvl8pPr>
                <a:lvl9pPr marL="3886200" indent="-228600" defTabSz="457200" eaLnBrk="0" fontAlgn="base" hangingPunct="0">
                  <a:spcBef>
                    <a:spcPts val="1600"/>
                  </a:spcBef>
                  <a:spcAft>
                    <a:spcPct val="0"/>
                  </a:spcAft>
                  <a:buSzPct val="100000"/>
                  <a:buBlip>
                    <a:blip r:embed="rId2"/>
                  </a:buBlip>
                  <a:defRPr sz="1700">
                    <a:solidFill>
                      <a:schemeClr val="tx1"/>
                    </a:solidFill>
                    <a:latin typeface="Arial" charset="0"/>
                  </a:defRPr>
                </a:lvl9pPr>
              </a:lstStyle>
              <a:p>
                <a:pPr algn="ctr" eaLnBrk="1" hangingPunct="1">
                  <a:spcBef>
                    <a:spcPct val="0"/>
                  </a:spcBef>
                </a:pPr>
                <a:r>
                  <a:rPr lang="de-DE" altLang="de-DE" sz="1200" b="1">
                    <a:solidFill>
                      <a:schemeClr val="bg1"/>
                    </a:solidFill>
                  </a:rPr>
                  <a:t>Pflichtversicherung</a:t>
                </a:r>
              </a:p>
            </p:txBody>
          </p:sp>
          <p:sp>
            <p:nvSpPr>
              <p:cNvPr id="23" name="Plus 22"/>
              <p:cNvSpPr/>
              <p:nvPr/>
            </p:nvSpPr>
            <p:spPr>
              <a:xfrm>
                <a:off x="1622101" y="4311701"/>
                <a:ext cx="287503" cy="287417"/>
              </a:xfrm>
              <a:prstGeom prst="mathPlus">
                <a:avLst>
                  <a:gd name="adj1" fmla="val 13161"/>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de-DE" sz="1200"/>
              </a:p>
            </p:txBody>
          </p:sp>
        </p:grpSp>
        <p:grpSp>
          <p:nvGrpSpPr>
            <p:cNvPr id="24" name="Gruppieren 23"/>
            <p:cNvGrpSpPr>
              <a:grpSpLocks/>
            </p:cNvGrpSpPr>
            <p:nvPr/>
          </p:nvGrpSpPr>
          <p:grpSpPr bwMode="auto">
            <a:xfrm>
              <a:off x="2663825" y="2724571"/>
              <a:ext cx="2232025" cy="1817688"/>
              <a:chOff x="2626761" y="3087397"/>
              <a:chExt cx="2232248" cy="1817767"/>
            </a:xfrm>
          </p:grpSpPr>
          <p:sp>
            <p:nvSpPr>
              <p:cNvPr id="25" name="Textfeld 37"/>
              <p:cNvSpPr txBox="1">
                <a:spLocks noChangeArrowheads="1"/>
              </p:cNvSpPr>
              <p:nvPr/>
            </p:nvSpPr>
            <p:spPr bwMode="auto">
              <a:xfrm>
                <a:off x="3204160" y="3087397"/>
                <a:ext cx="1154162" cy="8694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a:spcBef>
                    <a:spcPts val="1600"/>
                  </a:spcBef>
                  <a:defRPr sz="1700">
                    <a:solidFill>
                      <a:schemeClr val="tx1"/>
                    </a:solidFill>
                    <a:latin typeface="Arial" charset="0"/>
                  </a:defRPr>
                </a:lvl1pPr>
                <a:lvl2pPr marL="742950" indent="-285750">
                  <a:spcBef>
                    <a:spcPts val="1600"/>
                  </a:spcBef>
                  <a:buSzPct val="100000"/>
                  <a:buBlip>
                    <a:blip r:embed="rId2"/>
                  </a:buBlip>
                  <a:defRPr sz="1700">
                    <a:solidFill>
                      <a:schemeClr val="tx1"/>
                    </a:solidFill>
                    <a:latin typeface="Arial" charset="0"/>
                  </a:defRPr>
                </a:lvl2pPr>
                <a:lvl3pPr marL="1143000" indent="-228600">
                  <a:spcBef>
                    <a:spcPts val="1600"/>
                  </a:spcBef>
                  <a:buSzPct val="100000"/>
                  <a:buBlip>
                    <a:blip r:embed="rId2"/>
                  </a:buBlip>
                  <a:defRPr sz="1700">
                    <a:solidFill>
                      <a:schemeClr val="tx1"/>
                    </a:solidFill>
                    <a:latin typeface="Arial" charset="0"/>
                  </a:defRPr>
                </a:lvl3pPr>
                <a:lvl4pPr marL="1600200" indent="-228600">
                  <a:spcBef>
                    <a:spcPts val="1600"/>
                  </a:spcBef>
                  <a:buSzPct val="100000"/>
                  <a:buBlip>
                    <a:blip r:embed="rId2"/>
                  </a:buBlip>
                  <a:defRPr sz="1700">
                    <a:solidFill>
                      <a:schemeClr val="tx1"/>
                    </a:solidFill>
                    <a:latin typeface="Arial" charset="0"/>
                  </a:defRPr>
                </a:lvl4pPr>
                <a:lvl5pPr marL="2057400" indent="-228600">
                  <a:spcBef>
                    <a:spcPts val="1600"/>
                  </a:spcBef>
                  <a:buSzPct val="100000"/>
                  <a:buBlip>
                    <a:blip r:embed="rId2"/>
                  </a:buBlip>
                  <a:defRPr sz="1700">
                    <a:solidFill>
                      <a:schemeClr val="tx1"/>
                    </a:solidFill>
                    <a:latin typeface="Arial" charset="0"/>
                  </a:defRPr>
                </a:lvl5pPr>
                <a:lvl6pPr marL="2514600" indent="-228600" defTabSz="457200" eaLnBrk="0" fontAlgn="base" hangingPunct="0">
                  <a:spcBef>
                    <a:spcPts val="1600"/>
                  </a:spcBef>
                  <a:spcAft>
                    <a:spcPct val="0"/>
                  </a:spcAft>
                  <a:buSzPct val="100000"/>
                  <a:buBlip>
                    <a:blip r:embed="rId2"/>
                  </a:buBlip>
                  <a:defRPr sz="1700">
                    <a:solidFill>
                      <a:schemeClr val="tx1"/>
                    </a:solidFill>
                    <a:latin typeface="Arial" charset="0"/>
                  </a:defRPr>
                </a:lvl6pPr>
                <a:lvl7pPr marL="2971800" indent="-228600" defTabSz="457200" eaLnBrk="0" fontAlgn="base" hangingPunct="0">
                  <a:spcBef>
                    <a:spcPts val="1600"/>
                  </a:spcBef>
                  <a:spcAft>
                    <a:spcPct val="0"/>
                  </a:spcAft>
                  <a:buSzPct val="100000"/>
                  <a:buBlip>
                    <a:blip r:embed="rId2"/>
                  </a:buBlip>
                  <a:defRPr sz="1700">
                    <a:solidFill>
                      <a:schemeClr val="tx1"/>
                    </a:solidFill>
                    <a:latin typeface="Arial" charset="0"/>
                  </a:defRPr>
                </a:lvl7pPr>
                <a:lvl8pPr marL="3429000" indent="-228600" defTabSz="457200" eaLnBrk="0" fontAlgn="base" hangingPunct="0">
                  <a:spcBef>
                    <a:spcPts val="1600"/>
                  </a:spcBef>
                  <a:spcAft>
                    <a:spcPct val="0"/>
                  </a:spcAft>
                  <a:buSzPct val="100000"/>
                  <a:buBlip>
                    <a:blip r:embed="rId2"/>
                  </a:buBlip>
                  <a:defRPr sz="1700">
                    <a:solidFill>
                      <a:schemeClr val="tx1"/>
                    </a:solidFill>
                    <a:latin typeface="Arial" charset="0"/>
                  </a:defRPr>
                </a:lvl8pPr>
                <a:lvl9pPr marL="3886200" indent="-228600" defTabSz="457200" eaLnBrk="0" fontAlgn="base" hangingPunct="0">
                  <a:spcBef>
                    <a:spcPts val="1600"/>
                  </a:spcBef>
                  <a:spcAft>
                    <a:spcPct val="0"/>
                  </a:spcAft>
                  <a:buSzPct val="100000"/>
                  <a:buBlip>
                    <a:blip r:embed="rId2"/>
                  </a:buBlip>
                  <a:defRPr sz="1700">
                    <a:solidFill>
                      <a:schemeClr val="tx1"/>
                    </a:solidFill>
                    <a:latin typeface="Arial" charset="0"/>
                  </a:defRPr>
                </a:lvl9pPr>
              </a:lstStyle>
              <a:p>
                <a:pPr eaLnBrk="1" hangingPunct="1">
                  <a:spcBef>
                    <a:spcPct val="0"/>
                  </a:spcBef>
                  <a:spcAft>
                    <a:spcPts val="300"/>
                  </a:spcAft>
                </a:pPr>
                <a:r>
                  <a:rPr lang="de-DE" altLang="de-DE" sz="4000" b="1" dirty="0">
                    <a:solidFill>
                      <a:srgbClr val="00749F"/>
                    </a:solidFill>
                  </a:rPr>
                  <a:t>2</a:t>
                </a:r>
              </a:p>
              <a:p>
                <a:pPr eaLnBrk="1" hangingPunct="1">
                  <a:spcBef>
                    <a:spcPct val="0"/>
                  </a:spcBef>
                </a:pPr>
                <a:r>
                  <a:rPr lang="de-DE" altLang="de-DE" sz="1400" b="1" dirty="0">
                    <a:solidFill>
                      <a:srgbClr val="00749F"/>
                    </a:solidFill>
                  </a:rPr>
                  <a:t>Betriebsrente</a:t>
                </a:r>
              </a:p>
            </p:txBody>
          </p:sp>
          <p:sp>
            <p:nvSpPr>
              <p:cNvPr id="26" name="Abgerundetes Rechteck 2"/>
              <p:cNvSpPr/>
              <p:nvPr/>
            </p:nvSpPr>
            <p:spPr>
              <a:xfrm>
                <a:off x="3203082" y="4041526"/>
                <a:ext cx="1655927" cy="827123"/>
              </a:xfrm>
              <a:custGeom>
                <a:avLst/>
                <a:gdLst>
                  <a:gd name="connsiteX0" fmla="*/ 0 w 2844000"/>
                  <a:gd name="connsiteY0" fmla="*/ 164862 h 1332000"/>
                  <a:gd name="connsiteX1" fmla="*/ 164862 w 2844000"/>
                  <a:gd name="connsiteY1" fmla="*/ 0 h 1332000"/>
                  <a:gd name="connsiteX2" fmla="*/ 2679138 w 2844000"/>
                  <a:gd name="connsiteY2" fmla="*/ 0 h 1332000"/>
                  <a:gd name="connsiteX3" fmla="*/ 2844000 w 2844000"/>
                  <a:gd name="connsiteY3" fmla="*/ 164862 h 1332000"/>
                  <a:gd name="connsiteX4" fmla="*/ 2844000 w 2844000"/>
                  <a:gd name="connsiteY4" fmla="*/ 1167138 h 1332000"/>
                  <a:gd name="connsiteX5" fmla="*/ 2679138 w 2844000"/>
                  <a:gd name="connsiteY5" fmla="*/ 1332000 h 1332000"/>
                  <a:gd name="connsiteX6" fmla="*/ 164862 w 2844000"/>
                  <a:gd name="connsiteY6" fmla="*/ 1332000 h 1332000"/>
                  <a:gd name="connsiteX7" fmla="*/ 0 w 2844000"/>
                  <a:gd name="connsiteY7" fmla="*/ 1167138 h 1332000"/>
                  <a:gd name="connsiteX8" fmla="*/ 0 w 2844000"/>
                  <a:gd name="connsiteY8" fmla="*/ 164862 h 1332000"/>
                  <a:gd name="connsiteX0" fmla="*/ 0 w 2844000"/>
                  <a:gd name="connsiteY0" fmla="*/ 166481 h 1333619"/>
                  <a:gd name="connsiteX1" fmla="*/ 2679138 w 2844000"/>
                  <a:gd name="connsiteY1" fmla="*/ 1619 h 1333619"/>
                  <a:gd name="connsiteX2" fmla="*/ 2844000 w 2844000"/>
                  <a:gd name="connsiteY2" fmla="*/ 166481 h 1333619"/>
                  <a:gd name="connsiteX3" fmla="*/ 2844000 w 2844000"/>
                  <a:gd name="connsiteY3" fmla="*/ 1168757 h 1333619"/>
                  <a:gd name="connsiteX4" fmla="*/ 2679138 w 2844000"/>
                  <a:gd name="connsiteY4" fmla="*/ 1333619 h 1333619"/>
                  <a:gd name="connsiteX5" fmla="*/ 164862 w 2844000"/>
                  <a:gd name="connsiteY5" fmla="*/ 1333619 h 1333619"/>
                  <a:gd name="connsiteX6" fmla="*/ 0 w 2844000"/>
                  <a:gd name="connsiteY6" fmla="*/ 1168757 h 1333619"/>
                  <a:gd name="connsiteX7" fmla="*/ 0 w 2844000"/>
                  <a:gd name="connsiteY7" fmla="*/ 166481 h 1333619"/>
                  <a:gd name="connsiteX0" fmla="*/ 0 w 2844000"/>
                  <a:gd name="connsiteY0" fmla="*/ 164862 h 1332000"/>
                  <a:gd name="connsiteX1" fmla="*/ 2679138 w 2844000"/>
                  <a:gd name="connsiteY1" fmla="*/ 0 h 1332000"/>
                  <a:gd name="connsiteX2" fmla="*/ 2844000 w 2844000"/>
                  <a:gd name="connsiteY2" fmla="*/ 164862 h 1332000"/>
                  <a:gd name="connsiteX3" fmla="*/ 2844000 w 2844000"/>
                  <a:gd name="connsiteY3" fmla="*/ 1167138 h 1332000"/>
                  <a:gd name="connsiteX4" fmla="*/ 2679138 w 2844000"/>
                  <a:gd name="connsiteY4" fmla="*/ 1332000 h 1332000"/>
                  <a:gd name="connsiteX5" fmla="*/ 164862 w 2844000"/>
                  <a:gd name="connsiteY5" fmla="*/ 1332000 h 1332000"/>
                  <a:gd name="connsiteX6" fmla="*/ 0 w 2844000"/>
                  <a:gd name="connsiteY6" fmla="*/ 1167138 h 1332000"/>
                  <a:gd name="connsiteX7" fmla="*/ 0 w 2844000"/>
                  <a:gd name="connsiteY7" fmla="*/ 164862 h 1332000"/>
                  <a:gd name="connsiteX0" fmla="*/ 0 w 2844000"/>
                  <a:gd name="connsiteY0" fmla="*/ 555 h 1332000"/>
                  <a:gd name="connsiteX1" fmla="*/ 2679138 w 2844000"/>
                  <a:gd name="connsiteY1" fmla="*/ 0 h 1332000"/>
                  <a:gd name="connsiteX2" fmla="*/ 2844000 w 2844000"/>
                  <a:gd name="connsiteY2" fmla="*/ 164862 h 1332000"/>
                  <a:gd name="connsiteX3" fmla="*/ 2844000 w 2844000"/>
                  <a:gd name="connsiteY3" fmla="*/ 1167138 h 1332000"/>
                  <a:gd name="connsiteX4" fmla="*/ 2679138 w 2844000"/>
                  <a:gd name="connsiteY4" fmla="*/ 1332000 h 1332000"/>
                  <a:gd name="connsiteX5" fmla="*/ 164862 w 2844000"/>
                  <a:gd name="connsiteY5" fmla="*/ 1332000 h 1332000"/>
                  <a:gd name="connsiteX6" fmla="*/ 0 w 2844000"/>
                  <a:gd name="connsiteY6" fmla="*/ 1167138 h 1332000"/>
                  <a:gd name="connsiteX7" fmla="*/ 0 w 2844000"/>
                  <a:gd name="connsiteY7" fmla="*/ 555 h 133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44000" h="1332000">
                    <a:moveTo>
                      <a:pt x="0" y="555"/>
                    </a:moveTo>
                    <a:lnTo>
                      <a:pt x="2679138" y="0"/>
                    </a:lnTo>
                    <a:cubicBezTo>
                      <a:pt x="2770189" y="0"/>
                      <a:pt x="2844000" y="73811"/>
                      <a:pt x="2844000" y="164862"/>
                    </a:cubicBezTo>
                    <a:lnTo>
                      <a:pt x="2844000" y="1167138"/>
                    </a:lnTo>
                    <a:cubicBezTo>
                      <a:pt x="2844000" y="1258189"/>
                      <a:pt x="2770189" y="1332000"/>
                      <a:pt x="2679138" y="1332000"/>
                    </a:cubicBezTo>
                    <a:lnTo>
                      <a:pt x="164862" y="1332000"/>
                    </a:lnTo>
                    <a:cubicBezTo>
                      <a:pt x="73811" y="1332000"/>
                      <a:pt x="0" y="1258189"/>
                      <a:pt x="0" y="1167138"/>
                    </a:cubicBezTo>
                    <a:lnTo>
                      <a:pt x="0" y="555"/>
                    </a:lnTo>
                    <a:close/>
                  </a:path>
                </a:pathLst>
              </a:custGeom>
              <a:solidFill>
                <a:srgbClr val="00749F"/>
              </a:solid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de-DE" sz="1200"/>
              </a:p>
            </p:txBody>
          </p:sp>
          <p:cxnSp>
            <p:nvCxnSpPr>
              <p:cNvPr id="27" name="Gerade Verbindung 26"/>
              <p:cNvCxnSpPr/>
              <p:nvPr/>
            </p:nvCxnSpPr>
            <p:spPr>
              <a:xfrm>
                <a:off x="3203082" y="4454294"/>
                <a:ext cx="1655927"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28" name="Rechteck 40"/>
              <p:cNvSpPr>
                <a:spLocks noChangeArrowheads="1"/>
              </p:cNvSpPr>
              <p:nvPr/>
            </p:nvSpPr>
            <p:spPr bwMode="auto">
              <a:xfrm>
                <a:off x="3545941" y="4092066"/>
                <a:ext cx="97013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ts val="1600"/>
                  </a:spcBef>
                  <a:defRPr sz="1700">
                    <a:solidFill>
                      <a:schemeClr val="tx1"/>
                    </a:solidFill>
                    <a:latin typeface="Arial" charset="0"/>
                  </a:defRPr>
                </a:lvl1pPr>
                <a:lvl2pPr marL="742950" indent="-285750">
                  <a:spcBef>
                    <a:spcPts val="1600"/>
                  </a:spcBef>
                  <a:buSzPct val="100000"/>
                  <a:buBlip>
                    <a:blip r:embed="rId2"/>
                  </a:buBlip>
                  <a:defRPr sz="1700">
                    <a:solidFill>
                      <a:schemeClr val="tx1"/>
                    </a:solidFill>
                    <a:latin typeface="Arial" charset="0"/>
                  </a:defRPr>
                </a:lvl2pPr>
                <a:lvl3pPr marL="1143000" indent="-228600">
                  <a:spcBef>
                    <a:spcPts val="1600"/>
                  </a:spcBef>
                  <a:buSzPct val="100000"/>
                  <a:buBlip>
                    <a:blip r:embed="rId2"/>
                  </a:buBlip>
                  <a:defRPr sz="1700">
                    <a:solidFill>
                      <a:schemeClr val="tx1"/>
                    </a:solidFill>
                    <a:latin typeface="Arial" charset="0"/>
                  </a:defRPr>
                </a:lvl3pPr>
                <a:lvl4pPr marL="1600200" indent="-228600">
                  <a:spcBef>
                    <a:spcPts val="1600"/>
                  </a:spcBef>
                  <a:buSzPct val="100000"/>
                  <a:buBlip>
                    <a:blip r:embed="rId2"/>
                  </a:buBlip>
                  <a:defRPr sz="1700">
                    <a:solidFill>
                      <a:schemeClr val="tx1"/>
                    </a:solidFill>
                    <a:latin typeface="Arial" charset="0"/>
                  </a:defRPr>
                </a:lvl4pPr>
                <a:lvl5pPr marL="2057400" indent="-228600">
                  <a:spcBef>
                    <a:spcPts val="1600"/>
                  </a:spcBef>
                  <a:buSzPct val="100000"/>
                  <a:buBlip>
                    <a:blip r:embed="rId2"/>
                  </a:buBlip>
                  <a:defRPr sz="1700">
                    <a:solidFill>
                      <a:schemeClr val="tx1"/>
                    </a:solidFill>
                    <a:latin typeface="Arial" charset="0"/>
                  </a:defRPr>
                </a:lvl5pPr>
                <a:lvl6pPr marL="2514600" indent="-228600" defTabSz="457200" eaLnBrk="0" fontAlgn="base" hangingPunct="0">
                  <a:spcBef>
                    <a:spcPts val="1600"/>
                  </a:spcBef>
                  <a:spcAft>
                    <a:spcPct val="0"/>
                  </a:spcAft>
                  <a:buSzPct val="100000"/>
                  <a:buBlip>
                    <a:blip r:embed="rId2"/>
                  </a:buBlip>
                  <a:defRPr sz="1700">
                    <a:solidFill>
                      <a:schemeClr val="tx1"/>
                    </a:solidFill>
                    <a:latin typeface="Arial" charset="0"/>
                  </a:defRPr>
                </a:lvl6pPr>
                <a:lvl7pPr marL="2971800" indent="-228600" defTabSz="457200" eaLnBrk="0" fontAlgn="base" hangingPunct="0">
                  <a:spcBef>
                    <a:spcPts val="1600"/>
                  </a:spcBef>
                  <a:spcAft>
                    <a:spcPct val="0"/>
                  </a:spcAft>
                  <a:buSzPct val="100000"/>
                  <a:buBlip>
                    <a:blip r:embed="rId2"/>
                  </a:buBlip>
                  <a:defRPr sz="1700">
                    <a:solidFill>
                      <a:schemeClr val="tx1"/>
                    </a:solidFill>
                    <a:latin typeface="Arial" charset="0"/>
                  </a:defRPr>
                </a:lvl7pPr>
                <a:lvl8pPr marL="3429000" indent="-228600" defTabSz="457200" eaLnBrk="0" fontAlgn="base" hangingPunct="0">
                  <a:spcBef>
                    <a:spcPts val="1600"/>
                  </a:spcBef>
                  <a:spcAft>
                    <a:spcPct val="0"/>
                  </a:spcAft>
                  <a:buSzPct val="100000"/>
                  <a:buBlip>
                    <a:blip r:embed="rId2"/>
                  </a:buBlip>
                  <a:defRPr sz="1700">
                    <a:solidFill>
                      <a:schemeClr val="tx1"/>
                    </a:solidFill>
                    <a:latin typeface="Arial" charset="0"/>
                  </a:defRPr>
                </a:lvl8pPr>
                <a:lvl9pPr marL="3886200" indent="-228600" defTabSz="457200" eaLnBrk="0" fontAlgn="base" hangingPunct="0">
                  <a:spcBef>
                    <a:spcPts val="1600"/>
                  </a:spcBef>
                  <a:spcAft>
                    <a:spcPct val="0"/>
                  </a:spcAft>
                  <a:buSzPct val="100000"/>
                  <a:buBlip>
                    <a:blip r:embed="rId2"/>
                  </a:buBlip>
                  <a:defRPr sz="1700">
                    <a:solidFill>
                      <a:schemeClr val="tx1"/>
                    </a:solidFill>
                    <a:latin typeface="Arial" charset="0"/>
                  </a:defRPr>
                </a:lvl9pPr>
              </a:lstStyle>
              <a:p>
                <a:pPr algn="ctr" eaLnBrk="1" hangingPunct="1">
                  <a:spcBef>
                    <a:spcPct val="0"/>
                  </a:spcBef>
                </a:pPr>
                <a:r>
                  <a:rPr lang="de-DE" altLang="de-DE" sz="1200" b="1">
                    <a:solidFill>
                      <a:schemeClr val="bg1"/>
                    </a:solidFill>
                  </a:rPr>
                  <a:t>Mehrarbeit</a:t>
                </a:r>
              </a:p>
            </p:txBody>
          </p:sp>
          <p:sp>
            <p:nvSpPr>
              <p:cNvPr id="29" name="Rechteck 41"/>
              <p:cNvSpPr>
                <a:spLocks noChangeArrowheads="1"/>
              </p:cNvSpPr>
              <p:nvPr/>
            </p:nvSpPr>
            <p:spPr bwMode="auto">
              <a:xfrm>
                <a:off x="3298277" y="4505054"/>
                <a:ext cx="1465466"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ts val="1600"/>
                  </a:spcBef>
                  <a:defRPr sz="1700">
                    <a:solidFill>
                      <a:schemeClr val="tx1"/>
                    </a:solidFill>
                    <a:latin typeface="Arial" charset="0"/>
                  </a:defRPr>
                </a:lvl1pPr>
                <a:lvl2pPr marL="742950" indent="-285750">
                  <a:spcBef>
                    <a:spcPts val="1600"/>
                  </a:spcBef>
                  <a:buSzPct val="100000"/>
                  <a:buBlip>
                    <a:blip r:embed="rId2"/>
                  </a:buBlip>
                  <a:defRPr sz="1700">
                    <a:solidFill>
                      <a:schemeClr val="tx1"/>
                    </a:solidFill>
                    <a:latin typeface="Arial" charset="0"/>
                  </a:defRPr>
                </a:lvl2pPr>
                <a:lvl3pPr marL="1143000" indent="-228600">
                  <a:spcBef>
                    <a:spcPts val="1600"/>
                  </a:spcBef>
                  <a:buSzPct val="100000"/>
                  <a:buBlip>
                    <a:blip r:embed="rId2"/>
                  </a:buBlip>
                  <a:defRPr sz="1700">
                    <a:solidFill>
                      <a:schemeClr val="tx1"/>
                    </a:solidFill>
                    <a:latin typeface="Arial" charset="0"/>
                  </a:defRPr>
                </a:lvl3pPr>
                <a:lvl4pPr marL="1600200" indent="-228600">
                  <a:spcBef>
                    <a:spcPts val="1600"/>
                  </a:spcBef>
                  <a:buSzPct val="100000"/>
                  <a:buBlip>
                    <a:blip r:embed="rId2"/>
                  </a:buBlip>
                  <a:defRPr sz="1700">
                    <a:solidFill>
                      <a:schemeClr val="tx1"/>
                    </a:solidFill>
                    <a:latin typeface="Arial" charset="0"/>
                  </a:defRPr>
                </a:lvl4pPr>
                <a:lvl5pPr marL="2057400" indent="-228600">
                  <a:spcBef>
                    <a:spcPts val="1600"/>
                  </a:spcBef>
                  <a:buSzPct val="100000"/>
                  <a:buBlip>
                    <a:blip r:embed="rId2"/>
                  </a:buBlip>
                  <a:defRPr sz="1700">
                    <a:solidFill>
                      <a:schemeClr val="tx1"/>
                    </a:solidFill>
                    <a:latin typeface="Arial" charset="0"/>
                  </a:defRPr>
                </a:lvl5pPr>
                <a:lvl6pPr marL="2514600" indent="-228600" defTabSz="457200" eaLnBrk="0" fontAlgn="base" hangingPunct="0">
                  <a:spcBef>
                    <a:spcPts val="1600"/>
                  </a:spcBef>
                  <a:spcAft>
                    <a:spcPct val="0"/>
                  </a:spcAft>
                  <a:buSzPct val="100000"/>
                  <a:buBlip>
                    <a:blip r:embed="rId2"/>
                  </a:buBlip>
                  <a:defRPr sz="1700">
                    <a:solidFill>
                      <a:schemeClr val="tx1"/>
                    </a:solidFill>
                    <a:latin typeface="Arial" charset="0"/>
                  </a:defRPr>
                </a:lvl6pPr>
                <a:lvl7pPr marL="2971800" indent="-228600" defTabSz="457200" eaLnBrk="0" fontAlgn="base" hangingPunct="0">
                  <a:spcBef>
                    <a:spcPts val="1600"/>
                  </a:spcBef>
                  <a:spcAft>
                    <a:spcPct val="0"/>
                  </a:spcAft>
                  <a:buSzPct val="100000"/>
                  <a:buBlip>
                    <a:blip r:embed="rId2"/>
                  </a:buBlip>
                  <a:defRPr sz="1700">
                    <a:solidFill>
                      <a:schemeClr val="tx1"/>
                    </a:solidFill>
                    <a:latin typeface="Arial" charset="0"/>
                  </a:defRPr>
                </a:lvl7pPr>
                <a:lvl8pPr marL="3429000" indent="-228600" defTabSz="457200" eaLnBrk="0" fontAlgn="base" hangingPunct="0">
                  <a:spcBef>
                    <a:spcPts val="1600"/>
                  </a:spcBef>
                  <a:spcAft>
                    <a:spcPct val="0"/>
                  </a:spcAft>
                  <a:buSzPct val="100000"/>
                  <a:buBlip>
                    <a:blip r:embed="rId2"/>
                  </a:buBlip>
                  <a:defRPr sz="1700">
                    <a:solidFill>
                      <a:schemeClr val="tx1"/>
                    </a:solidFill>
                    <a:latin typeface="Arial" charset="0"/>
                  </a:defRPr>
                </a:lvl8pPr>
                <a:lvl9pPr marL="3886200" indent="-228600" defTabSz="457200" eaLnBrk="0" fontAlgn="base" hangingPunct="0">
                  <a:spcBef>
                    <a:spcPts val="1600"/>
                  </a:spcBef>
                  <a:spcAft>
                    <a:spcPct val="0"/>
                  </a:spcAft>
                  <a:buSzPct val="100000"/>
                  <a:buBlip>
                    <a:blip r:embed="rId2"/>
                  </a:buBlip>
                  <a:defRPr sz="1700">
                    <a:solidFill>
                      <a:schemeClr val="tx1"/>
                    </a:solidFill>
                    <a:latin typeface="Arial" charset="0"/>
                  </a:defRPr>
                </a:lvl9pPr>
              </a:lstStyle>
              <a:p>
                <a:pPr algn="ctr" eaLnBrk="1" hangingPunct="1">
                  <a:lnSpc>
                    <a:spcPts val="1200"/>
                  </a:lnSpc>
                  <a:spcBef>
                    <a:spcPct val="0"/>
                  </a:spcBef>
                </a:pPr>
                <a:r>
                  <a:rPr lang="de-DE" altLang="de-DE" sz="1200" b="1">
                    <a:solidFill>
                      <a:schemeClr val="bg1"/>
                    </a:solidFill>
                  </a:rPr>
                  <a:t>betriebliche </a:t>
                </a:r>
                <a:br>
                  <a:rPr lang="de-DE" altLang="de-DE" sz="1200" b="1">
                    <a:solidFill>
                      <a:schemeClr val="bg1"/>
                    </a:solidFill>
                  </a:rPr>
                </a:br>
                <a:r>
                  <a:rPr lang="de-DE" altLang="de-DE" sz="1200" b="1">
                    <a:solidFill>
                      <a:schemeClr val="bg1"/>
                    </a:solidFill>
                  </a:rPr>
                  <a:t>Altersversorgung</a:t>
                </a:r>
              </a:p>
            </p:txBody>
          </p:sp>
          <p:sp>
            <p:nvSpPr>
              <p:cNvPr id="30" name="Plus 29"/>
              <p:cNvSpPr/>
              <p:nvPr/>
            </p:nvSpPr>
            <p:spPr>
              <a:xfrm>
                <a:off x="3887362" y="4311413"/>
                <a:ext cx="287367" cy="287349"/>
              </a:xfrm>
              <a:prstGeom prst="mathPlus">
                <a:avLst>
                  <a:gd name="adj1" fmla="val 13161"/>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de-DE" sz="1200"/>
              </a:p>
            </p:txBody>
          </p:sp>
          <p:sp>
            <p:nvSpPr>
              <p:cNvPr id="31" name="Plus 30"/>
              <p:cNvSpPr/>
              <p:nvPr/>
            </p:nvSpPr>
            <p:spPr>
              <a:xfrm>
                <a:off x="2626761" y="4274899"/>
                <a:ext cx="360399" cy="360379"/>
              </a:xfrm>
              <a:prstGeom prst="mathPlus">
                <a:avLst>
                  <a:gd name="adj1" fmla="val 13161"/>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de-DE" sz="1200"/>
              </a:p>
            </p:txBody>
          </p:sp>
        </p:grpSp>
        <p:grpSp>
          <p:nvGrpSpPr>
            <p:cNvPr id="32" name="Gruppieren 31"/>
            <p:cNvGrpSpPr>
              <a:grpSpLocks/>
            </p:cNvGrpSpPr>
            <p:nvPr/>
          </p:nvGrpSpPr>
          <p:grpSpPr bwMode="auto">
            <a:xfrm>
              <a:off x="5148263" y="3677071"/>
              <a:ext cx="3240087" cy="828675"/>
              <a:chOff x="5004088" y="4040955"/>
              <a:chExt cx="3240320" cy="828113"/>
            </a:xfrm>
          </p:grpSpPr>
          <p:sp>
            <p:nvSpPr>
              <p:cNvPr id="33" name="Gleich 32"/>
              <p:cNvSpPr/>
              <p:nvPr/>
            </p:nvSpPr>
            <p:spPr>
              <a:xfrm>
                <a:off x="5004088" y="4293197"/>
                <a:ext cx="360388" cy="323630"/>
              </a:xfrm>
              <a:prstGeom prst="mathEqual">
                <a:avLst>
                  <a:gd name="adj1" fmla="val 14700"/>
                  <a:gd name="adj2" fmla="val 10290"/>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de-DE" sz="1200"/>
              </a:p>
            </p:txBody>
          </p:sp>
          <p:sp>
            <p:nvSpPr>
              <p:cNvPr id="34" name="Abgerundetes Rechteck 10"/>
              <p:cNvSpPr/>
              <p:nvPr/>
            </p:nvSpPr>
            <p:spPr>
              <a:xfrm>
                <a:off x="5435919" y="4040955"/>
                <a:ext cx="2808489" cy="828113"/>
              </a:xfrm>
              <a:custGeom>
                <a:avLst/>
                <a:gdLst>
                  <a:gd name="connsiteX0" fmla="*/ 0 w 2808000"/>
                  <a:gd name="connsiteY0" fmla="*/ 71324 h 828000"/>
                  <a:gd name="connsiteX1" fmla="*/ 71324 w 2808000"/>
                  <a:gd name="connsiteY1" fmla="*/ 0 h 828000"/>
                  <a:gd name="connsiteX2" fmla="*/ 2736676 w 2808000"/>
                  <a:gd name="connsiteY2" fmla="*/ 0 h 828000"/>
                  <a:gd name="connsiteX3" fmla="*/ 2808000 w 2808000"/>
                  <a:gd name="connsiteY3" fmla="*/ 71324 h 828000"/>
                  <a:gd name="connsiteX4" fmla="*/ 2808000 w 2808000"/>
                  <a:gd name="connsiteY4" fmla="*/ 756676 h 828000"/>
                  <a:gd name="connsiteX5" fmla="*/ 2736676 w 2808000"/>
                  <a:gd name="connsiteY5" fmla="*/ 828000 h 828000"/>
                  <a:gd name="connsiteX6" fmla="*/ 71324 w 2808000"/>
                  <a:gd name="connsiteY6" fmla="*/ 828000 h 828000"/>
                  <a:gd name="connsiteX7" fmla="*/ 0 w 2808000"/>
                  <a:gd name="connsiteY7" fmla="*/ 756676 h 828000"/>
                  <a:gd name="connsiteX8" fmla="*/ 0 w 2808000"/>
                  <a:gd name="connsiteY8" fmla="*/ 71324 h 828000"/>
                  <a:gd name="connsiteX0" fmla="*/ 0 w 2808000"/>
                  <a:gd name="connsiteY0" fmla="*/ 83166 h 839842"/>
                  <a:gd name="connsiteX1" fmla="*/ 2736676 w 2808000"/>
                  <a:gd name="connsiteY1" fmla="*/ 11842 h 839842"/>
                  <a:gd name="connsiteX2" fmla="*/ 2808000 w 2808000"/>
                  <a:gd name="connsiteY2" fmla="*/ 83166 h 839842"/>
                  <a:gd name="connsiteX3" fmla="*/ 2808000 w 2808000"/>
                  <a:gd name="connsiteY3" fmla="*/ 768518 h 839842"/>
                  <a:gd name="connsiteX4" fmla="*/ 2736676 w 2808000"/>
                  <a:gd name="connsiteY4" fmla="*/ 839842 h 839842"/>
                  <a:gd name="connsiteX5" fmla="*/ 71324 w 2808000"/>
                  <a:gd name="connsiteY5" fmla="*/ 839842 h 839842"/>
                  <a:gd name="connsiteX6" fmla="*/ 0 w 2808000"/>
                  <a:gd name="connsiteY6" fmla="*/ 768518 h 839842"/>
                  <a:gd name="connsiteX7" fmla="*/ 0 w 2808000"/>
                  <a:gd name="connsiteY7" fmla="*/ 83166 h 839842"/>
                  <a:gd name="connsiteX0" fmla="*/ 0 w 2808000"/>
                  <a:gd name="connsiteY0" fmla="*/ 71324 h 828000"/>
                  <a:gd name="connsiteX1" fmla="*/ 2736676 w 2808000"/>
                  <a:gd name="connsiteY1" fmla="*/ 0 h 828000"/>
                  <a:gd name="connsiteX2" fmla="*/ 2808000 w 2808000"/>
                  <a:gd name="connsiteY2" fmla="*/ 71324 h 828000"/>
                  <a:gd name="connsiteX3" fmla="*/ 2808000 w 2808000"/>
                  <a:gd name="connsiteY3" fmla="*/ 756676 h 828000"/>
                  <a:gd name="connsiteX4" fmla="*/ 2736676 w 2808000"/>
                  <a:gd name="connsiteY4" fmla="*/ 828000 h 828000"/>
                  <a:gd name="connsiteX5" fmla="*/ 71324 w 2808000"/>
                  <a:gd name="connsiteY5" fmla="*/ 828000 h 828000"/>
                  <a:gd name="connsiteX6" fmla="*/ 0 w 2808000"/>
                  <a:gd name="connsiteY6" fmla="*/ 756676 h 828000"/>
                  <a:gd name="connsiteX7" fmla="*/ 0 w 2808000"/>
                  <a:gd name="connsiteY7" fmla="*/ 71324 h 828000"/>
                  <a:gd name="connsiteX0" fmla="*/ 0 w 2808000"/>
                  <a:gd name="connsiteY0" fmla="*/ 0 h 828113"/>
                  <a:gd name="connsiteX1" fmla="*/ 2736676 w 2808000"/>
                  <a:gd name="connsiteY1" fmla="*/ 113 h 828113"/>
                  <a:gd name="connsiteX2" fmla="*/ 2808000 w 2808000"/>
                  <a:gd name="connsiteY2" fmla="*/ 71437 h 828113"/>
                  <a:gd name="connsiteX3" fmla="*/ 2808000 w 2808000"/>
                  <a:gd name="connsiteY3" fmla="*/ 756789 h 828113"/>
                  <a:gd name="connsiteX4" fmla="*/ 2736676 w 2808000"/>
                  <a:gd name="connsiteY4" fmla="*/ 828113 h 828113"/>
                  <a:gd name="connsiteX5" fmla="*/ 71324 w 2808000"/>
                  <a:gd name="connsiteY5" fmla="*/ 828113 h 828113"/>
                  <a:gd name="connsiteX6" fmla="*/ 0 w 2808000"/>
                  <a:gd name="connsiteY6" fmla="*/ 756789 h 828113"/>
                  <a:gd name="connsiteX7" fmla="*/ 0 w 2808000"/>
                  <a:gd name="connsiteY7" fmla="*/ 0 h 828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8000" h="828113">
                    <a:moveTo>
                      <a:pt x="0" y="0"/>
                    </a:moveTo>
                    <a:lnTo>
                      <a:pt x="2736676" y="113"/>
                    </a:lnTo>
                    <a:cubicBezTo>
                      <a:pt x="2776067" y="113"/>
                      <a:pt x="2808000" y="32046"/>
                      <a:pt x="2808000" y="71437"/>
                    </a:cubicBezTo>
                    <a:lnTo>
                      <a:pt x="2808000" y="756789"/>
                    </a:lnTo>
                    <a:cubicBezTo>
                      <a:pt x="2808000" y="796180"/>
                      <a:pt x="2776067" y="828113"/>
                      <a:pt x="2736676" y="828113"/>
                    </a:cubicBezTo>
                    <a:lnTo>
                      <a:pt x="71324" y="828113"/>
                    </a:lnTo>
                    <a:cubicBezTo>
                      <a:pt x="31933" y="828113"/>
                      <a:pt x="0" y="796180"/>
                      <a:pt x="0" y="756789"/>
                    </a:cubicBezTo>
                    <a:lnTo>
                      <a:pt x="0" y="0"/>
                    </a:lnTo>
                    <a:close/>
                  </a:path>
                </a:pathLst>
              </a:cu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de-DE" sz="1200" b="1" dirty="0"/>
                  <a:t>Solide Versorgung, die sich lohnt.</a:t>
                </a:r>
              </a:p>
            </p:txBody>
          </p:sp>
        </p:grpSp>
      </p:grpSp>
    </p:spTree>
    <p:extLst>
      <p:ext uri="{BB962C8B-B14F-4D97-AF65-F5344CB8AC3E}">
        <p14:creationId xmlns:p14="http://schemas.microsoft.com/office/powerpoint/2010/main" val="88939242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p:cNvSpPr>
            <a:spLocks noGrp="1"/>
          </p:cNvSpPr>
          <p:nvPr>
            <p:ph type="title"/>
          </p:nvPr>
        </p:nvSpPr>
        <p:spPr/>
        <p:txBody>
          <a:bodyPr/>
          <a:lstStyle/>
          <a:p>
            <a:r>
              <a:rPr lang="de-DE" altLang="de-DE" sz="2500" dirty="0"/>
              <a:t>Minijobben fürs Alter:</a:t>
            </a:r>
            <a:br>
              <a:rPr lang="de-DE" altLang="de-DE" sz="2500" dirty="0"/>
            </a:br>
            <a:r>
              <a:rPr lang="de-DE" altLang="de-DE" sz="2500" dirty="0"/>
              <a:t>Gesetzliche Rente + Betriebsrente = Solide Versorgung</a:t>
            </a:r>
            <a:endParaRPr lang="de-DE" sz="2500" dirty="0"/>
          </a:p>
        </p:txBody>
      </p:sp>
      <p:sp>
        <p:nvSpPr>
          <p:cNvPr id="15" name="Textplatzhalter 14"/>
          <p:cNvSpPr>
            <a:spLocks noGrp="1"/>
          </p:cNvSpPr>
          <p:nvPr>
            <p:ph type="body" sz="quarter" idx="21"/>
          </p:nvPr>
        </p:nvSpPr>
        <p:spPr>
          <a:xfrm>
            <a:off x="358775" y="1992027"/>
            <a:ext cx="8426449" cy="261610"/>
          </a:xfrm>
        </p:spPr>
        <p:txBody>
          <a:bodyPr/>
          <a:lstStyle/>
          <a:p>
            <a:r>
              <a:rPr lang="de-DE" altLang="de-DE" dirty="0"/>
              <a:t>Beziehen Sie weiterhin Lohn im Minijob-Status und bauen Sie dabei Ihre Altersversorgung auf.</a:t>
            </a:r>
          </a:p>
        </p:txBody>
      </p:sp>
      <p:sp>
        <p:nvSpPr>
          <p:cNvPr id="17" name="Textplatzhalter 16"/>
          <p:cNvSpPr>
            <a:spLocks noGrp="1"/>
          </p:cNvSpPr>
          <p:nvPr>
            <p:ph type="body" sz="quarter" idx="24"/>
          </p:nvPr>
        </p:nvSpPr>
        <p:spPr/>
        <p:txBody>
          <a:bodyPr/>
          <a:lstStyle/>
          <a:p>
            <a:r>
              <a:rPr lang="de-DE" sz="1600" dirty="0"/>
              <a:t>Mit Verzicht auf 3,7 % des Bruttolohns (Beitrag zugunsten Pflichtversicherung in DRV) und Aufbau der bAV durch Mehrarbeit sichern Sie sich als Minijobber einen soliden Gesamt-Rentenanspruch.</a:t>
            </a:r>
          </a:p>
        </p:txBody>
      </p:sp>
      <p:sp>
        <p:nvSpPr>
          <p:cNvPr id="27" name="Textplatzhalter 26"/>
          <p:cNvSpPr>
            <a:spLocks noGrp="1"/>
          </p:cNvSpPr>
          <p:nvPr>
            <p:ph type="body" sz="quarter" idx="23"/>
          </p:nvPr>
        </p:nvSpPr>
        <p:spPr/>
        <p:txBody>
          <a:bodyPr/>
          <a:lstStyle/>
          <a:p>
            <a:endParaRPr lang="de-DE"/>
          </a:p>
        </p:txBody>
      </p:sp>
      <p:sp>
        <p:nvSpPr>
          <p:cNvPr id="13" name="Textplatzhalter 12"/>
          <p:cNvSpPr>
            <a:spLocks noGrp="1"/>
          </p:cNvSpPr>
          <p:nvPr>
            <p:ph type="body" sz="quarter" idx="18"/>
          </p:nvPr>
        </p:nvSpPr>
        <p:spPr/>
        <p:txBody>
          <a:bodyPr/>
          <a:lstStyle/>
          <a:p>
            <a:r>
              <a:rPr lang="de-DE" altLang="de-DE" dirty="0"/>
              <a:t>3. Besondere bAV-Möglichkeiten für Minijobber</a:t>
            </a:r>
          </a:p>
        </p:txBody>
      </p:sp>
      <p:sp>
        <p:nvSpPr>
          <p:cNvPr id="7" name="Datumsplatzhalter 6"/>
          <p:cNvSpPr>
            <a:spLocks noGrp="1"/>
          </p:cNvSpPr>
          <p:nvPr>
            <p:ph type="dt" sz="half" idx="25"/>
          </p:nvPr>
        </p:nvSpPr>
        <p:spPr/>
        <p:txBody>
          <a:bodyPr/>
          <a:lstStyle/>
          <a:p>
            <a:r>
              <a:rPr lang="de-DE"/>
              <a:t>01.01.2020</a:t>
            </a:r>
            <a:endParaRPr lang="de-DE" dirty="0"/>
          </a:p>
        </p:txBody>
      </p:sp>
      <p:sp>
        <p:nvSpPr>
          <p:cNvPr id="8" name="Fußzeilenplatzhalter 7"/>
          <p:cNvSpPr>
            <a:spLocks noGrp="1"/>
          </p:cNvSpPr>
          <p:nvPr>
            <p:ph type="ftr" sz="quarter" idx="26"/>
          </p:nvPr>
        </p:nvSpPr>
        <p:spPr/>
        <p:txBody>
          <a:bodyPr/>
          <a:lstStyle/>
          <a:p>
            <a:r>
              <a:rPr lang="de-DE"/>
              <a:t>Präsentation für Arbeitnehmer</a:t>
            </a:r>
            <a:endParaRPr lang="de-DE" dirty="0"/>
          </a:p>
        </p:txBody>
      </p:sp>
      <p:sp>
        <p:nvSpPr>
          <p:cNvPr id="9" name="Foliennummernplatzhalter 8"/>
          <p:cNvSpPr>
            <a:spLocks noGrp="1"/>
          </p:cNvSpPr>
          <p:nvPr>
            <p:ph type="sldNum" sz="quarter" idx="27"/>
          </p:nvPr>
        </p:nvSpPr>
        <p:spPr/>
        <p:txBody>
          <a:bodyPr/>
          <a:lstStyle/>
          <a:p>
            <a:fld id="{BFE8ADF1-837C-463F-9856-54C2D771B21B}" type="slidenum">
              <a:rPr lang="de-DE" smtClean="0"/>
              <a:pPr/>
              <a:t>12</a:t>
            </a:fld>
            <a:endParaRPr lang="de-DE" dirty="0"/>
          </a:p>
        </p:txBody>
      </p:sp>
      <p:sp>
        <p:nvSpPr>
          <p:cNvPr id="28" name="Textplatzhalter 27"/>
          <p:cNvSpPr>
            <a:spLocks noGrp="1"/>
          </p:cNvSpPr>
          <p:nvPr>
            <p:ph type="body" sz="quarter" idx="17"/>
          </p:nvPr>
        </p:nvSpPr>
        <p:spPr>
          <a:xfrm>
            <a:off x="358775" y="2559381"/>
            <a:ext cx="4033838" cy="2736850"/>
          </a:xfrm>
        </p:spPr>
        <p:txBody>
          <a:bodyPr>
            <a:normAutofit lnSpcReduction="10000"/>
          </a:bodyPr>
          <a:lstStyle/>
          <a:p>
            <a:pPr>
              <a:spcBef>
                <a:spcPct val="0"/>
              </a:spcBef>
              <a:spcAft>
                <a:spcPts val="300"/>
              </a:spcAft>
            </a:pPr>
            <a:r>
              <a:rPr lang="de-DE" altLang="de-DE" sz="1400" dirty="0">
                <a:solidFill>
                  <a:schemeClr val="accent2"/>
                </a:solidFill>
              </a:rPr>
              <a:t>Grundanspruch auf Leistungen aus der </a:t>
            </a:r>
            <a:br>
              <a:rPr lang="de-DE" altLang="de-DE" sz="1400" dirty="0">
                <a:solidFill>
                  <a:schemeClr val="accent2"/>
                </a:solidFill>
              </a:rPr>
            </a:br>
            <a:r>
              <a:rPr lang="de-DE" altLang="de-DE" sz="1400" dirty="0">
                <a:solidFill>
                  <a:schemeClr val="accent2"/>
                </a:solidFill>
              </a:rPr>
              <a:t>gesetzlichen Rentenversicherung</a:t>
            </a:r>
          </a:p>
          <a:p>
            <a:pPr marL="233363" lvl="1" indent="-233363"/>
            <a:r>
              <a:rPr lang="de-DE" sz="1400" dirty="0"/>
              <a:t>Erstmalige Begründung von Anwartschaften in der gesetzlichen Rentenversicherung.</a:t>
            </a:r>
          </a:p>
          <a:p>
            <a:pPr marL="233363" lvl="1" indent="-233363">
              <a:spcBef>
                <a:spcPts val="300"/>
              </a:spcBef>
            </a:pPr>
            <a:r>
              <a:rPr lang="de-DE" sz="1400" dirty="0"/>
              <a:t>Erhalt der Ansprüche aus der gesetzlichen Renten­versicherung bei vorheriger Versicherungspflicht.</a:t>
            </a:r>
          </a:p>
          <a:p>
            <a:pPr marL="233363" lvl="1" indent="-233363"/>
            <a:r>
              <a:rPr lang="de-DE" sz="1400" dirty="0"/>
              <a:t>Ansprüche aufgrund Erwerbs­minderung aus der gesetzlichen Rentenversicherung.</a:t>
            </a:r>
          </a:p>
          <a:p>
            <a:pPr marL="233363" lvl="1" indent="-233363"/>
            <a:r>
              <a:rPr lang="de-DE" sz="1400" dirty="0"/>
              <a:t>Ggf. Ansprüche auf Rehabilitationsmaßnahmen aus der gesetzlichen Rentenversicherung.</a:t>
            </a:r>
          </a:p>
        </p:txBody>
      </p:sp>
      <p:sp>
        <p:nvSpPr>
          <p:cNvPr id="29" name="Inhaltsplatzhalter 28"/>
          <p:cNvSpPr>
            <a:spLocks noGrp="1"/>
          </p:cNvSpPr>
          <p:nvPr>
            <p:ph sz="quarter" idx="19"/>
          </p:nvPr>
        </p:nvSpPr>
        <p:spPr>
          <a:xfrm>
            <a:off x="4751388" y="2559381"/>
            <a:ext cx="4033837" cy="2736850"/>
          </a:xfrm>
        </p:spPr>
        <p:txBody>
          <a:bodyPr/>
          <a:lstStyle/>
          <a:p>
            <a:pPr>
              <a:spcBef>
                <a:spcPts val="300"/>
              </a:spcBef>
              <a:spcAft>
                <a:spcPts val="300"/>
              </a:spcAft>
            </a:pPr>
            <a:r>
              <a:rPr lang="de-DE" altLang="de-DE" sz="1400" dirty="0">
                <a:solidFill>
                  <a:srgbClr val="00749F"/>
                </a:solidFill>
              </a:rPr>
              <a:t>Anspruch auf Leistungen aus der betrieblichen Altersversorgung (Direktversicherung)</a:t>
            </a:r>
          </a:p>
          <a:p>
            <a:pPr marL="233363" lvl="1" indent="-233363">
              <a:spcBef>
                <a:spcPts val="300"/>
              </a:spcBef>
            </a:pPr>
            <a:r>
              <a:rPr lang="de-DE" sz="1400" dirty="0"/>
              <a:t>Anspruch auf zusätzliche Altersrenten-leistungen.</a:t>
            </a:r>
          </a:p>
          <a:p>
            <a:pPr marL="233363" lvl="1" indent="-233363">
              <a:spcBef>
                <a:spcPts val="300"/>
              </a:spcBef>
            </a:pPr>
            <a:r>
              <a:rPr lang="de-DE" sz="1400" dirty="0"/>
              <a:t>Ggf. Erhalt der Altersrente bei Berufs­-unfähigkeit bei Einschluss einer entsprechenden Zusatzversicherung (Beitragsbefreiung bei BU).</a:t>
            </a:r>
            <a:endParaRPr lang="de-DE" dirty="0"/>
          </a:p>
        </p:txBody>
      </p:sp>
    </p:spTree>
    <p:extLst>
      <p:ext uri="{BB962C8B-B14F-4D97-AF65-F5344CB8AC3E}">
        <p14:creationId xmlns:p14="http://schemas.microsoft.com/office/powerpoint/2010/main" val="348532001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dirty="0">
                <a:solidFill>
                  <a:srgbClr val="009EE0"/>
                </a:solidFill>
              </a:rPr>
              <a:t>Minijobben fürs Alter:</a:t>
            </a:r>
            <a:br>
              <a:rPr lang="de-DE" altLang="de-DE" dirty="0">
                <a:solidFill>
                  <a:srgbClr val="009EE0"/>
                </a:solidFill>
              </a:rPr>
            </a:br>
            <a:r>
              <a:rPr lang="de-DE" altLang="de-DE" dirty="0">
                <a:solidFill>
                  <a:srgbClr val="009EE0"/>
                </a:solidFill>
              </a:rPr>
              <a:t>Mehrarbeit und DRV-Pflicht als Rentenverstärker</a:t>
            </a:r>
            <a:endParaRPr lang="de-DE" dirty="0"/>
          </a:p>
        </p:txBody>
      </p:sp>
      <p:sp>
        <p:nvSpPr>
          <p:cNvPr id="3" name="Textplatzhalter 2"/>
          <p:cNvSpPr>
            <a:spLocks noGrp="1"/>
          </p:cNvSpPr>
          <p:nvPr>
            <p:ph type="body" sz="quarter" idx="17"/>
          </p:nvPr>
        </p:nvSpPr>
        <p:spPr>
          <a:xfrm>
            <a:off x="358775" y="2087563"/>
            <a:ext cx="8426450" cy="523220"/>
          </a:xfrm>
        </p:spPr>
        <p:txBody>
          <a:bodyPr/>
          <a:lstStyle/>
          <a:p>
            <a:r>
              <a:rPr lang="de-DE" altLang="de-DE" dirty="0"/>
              <a:t>Entgeltumwandlung und Pflichtversicherung in der DRV sorgen für solide </a:t>
            </a:r>
            <a:br>
              <a:rPr lang="de-DE" altLang="de-DE" dirty="0"/>
            </a:br>
            <a:r>
              <a:rPr lang="de-DE" altLang="de-DE" dirty="0"/>
              <a:t>Mehr-Versorgung.</a:t>
            </a:r>
          </a:p>
        </p:txBody>
      </p:sp>
      <p:sp>
        <p:nvSpPr>
          <p:cNvPr id="5" name="Textplatzhalter 4"/>
          <p:cNvSpPr>
            <a:spLocks noGrp="1"/>
          </p:cNvSpPr>
          <p:nvPr>
            <p:ph type="body" sz="quarter" idx="18"/>
          </p:nvPr>
        </p:nvSpPr>
        <p:spPr/>
        <p:txBody>
          <a:bodyPr/>
          <a:lstStyle/>
          <a:p>
            <a:r>
              <a:rPr lang="de-DE" altLang="de-DE" dirty="0"/>
              <a:t>3. Besondere bAV-Möglichkeiten für Minijobber</a:t>
            </a:r>
          </a:p>
        </p:txBody>
      </p:sp>
      <p:sp>
        <p:nvSpPr>
          <p:cNvPr id="6" name="Datumsplatzhalter 5"/>
          <p:cNvSpPr>
            <a:spLocks noGrp="1"/>
          </p:cNvSpPr>
          <p:nvPr>
            <p:ph type="dt" sz="half" idx="20"/>
          </p:nvPr>
        </p:nvSpPr>
        <p:spPr/>
        <p:txBody>
          <a:bodyPr/>
          <a:lstStyle/>
          <a:p>
            <a:r>
              <a:rPr lang="de-DE"/>
              <a:t>01.01.2020</a:t>
            </a:r>
            <a:endParaRPr lang="de-DE" dirty="0"/>
          </a:p>
        </p:txBody>
      </p:sp>
      <p:sp>
        <p:nvSpPr>
          <p:cNvPr id="7" name="Fußzeilenplatzhalter 6"/>
          <p:cNvSpPr>
            <a:spLocks noGrp="1"/>
          </p:cNvSpPr>
          <p:nvPr>
            <p:ph type="ftr" sz="quarter" idx="21"/>
          </p:nvPr>
        </p:nvSpPr>
        <p:spPr/>
        <p:txBody>
          <a:bodyPr/>
          <a:lstStyle/>
          <a:p>
            <a:r>
              <a:rPr lang="de-DE"/>
              <a:t>Präsentation für Arbeitnehmer</a:t>
            </a:r>
            <a:endParaRPr lang="de-DE" dirty="0"/>
          </a:p>
        </p:txBody>
      </p:sp>
      <p:sp>
        <p:nvSpPr>
          <p:cNvPr id="8" name="Foliennummernplatzhalter 7"/>
          <p:cNvSpPr>
            <a:spLocks noGrp="1"/>
          </p:cNvSpPr>
          <p:nvPr>
            <p:ph type="sldNum" sz="quarter" idx="22"/>
          </p:nvPr>
        </p:nvSpPr>
        <p:spPr/>
        <p:txBody>
          <a:bodyPr/>
          <a:lstStyle/>
          <a:p>
            <a:fld id="{BFE8ADF1-837C-463F-9856-54C2D771B21B}" type="slidenum">
              <a:rPr lang="de-DE" smtClean="0"/>
              <a:pPr/>
              <a:t>13</a:t>
            </a:fld>
            <a:endParaRPr lang="de-DE" dirty="0"/>
          </a:p>
        </p:txBody>
      </p:sp>
      <p:sp>
        <p:nvSpPr>
          <p:cNvPr id="9" name="Textplatzhalter 8"/>
          <p:cNvSpPr>
            <a:spLocks noGrp="1"/>
          </p:cNvSpPr>
          <p:nvPr>
            <p:ph type="body" sz="quarter" idx="23"/>
          </p:nvPr>
        </p:nvSpPr>
        <p:spPr/>
        <p:txBody>
          <a:bodyPr/>
          <a:lstStyle/>
          <a:p>
            <a:endParaRPr lang="de-DE"/>
          </a:p>
        </p:txBody>
      </p:sp>
      <p:graphicFrame>
        <p:nvGraphicFramePr>
          <p:cNvPr id="10" name="Inhaltsplatzhalter 6"/>
          <p:cNvGraphicFramePr>
            <a:graphicFrameLocks/>
          </p:cNvGraphicFramePr>
          <p:nvPr>
            <p:extLst>
              <p:ext uri="{D42A27DB-BD31-4B8C-83A1-F6EECF244321}">
                <p14:modId xmlns:p14="http://schemas.microsoft.com/office/powerpoint/2010/main" val="1774983962"/>
              </p:ext>
            </p:extLst>
          </p:nvPr>
        </p:nvGraphicFramePr>
        <p:xfrm>
          <a:off x="431800" y="2844183"/>
          <a:ext cx="5435600" cy="3049592"/>
        </p:xfrm>
        <a:graphic>
          <a:graphicData uri="http://schemas.openxmlformats.org/drawingml/2006/table">
            <a:tbl>
              <a:tblPr firstRow="1" bandRow="1">
                <a:tableStyleId>{00A15C55-8517-42AA-B614-E9B94910E393}</a:tableStyleId>
              </a:tblPr>
              <a:tblGrid>
                <a:gridCol w="2519676">
                  <a:extLst>
                    <a:ext uri="{9D8B030D-6E8A-4147-A177-3AD203B41FA5}">
                      <a16:colId xmlns:a16="http://schemas.microsoft.com/office/drawing/2014/main" val="20000"/>
                    </a:ext>
                  </a:extLst>
                </a:gridCol>
                <a:gridCol w="1117122">
                  <a:extLst>
                    <a:ext uri="{9D8B030D-6E8A-4147-A177-3AD203B41FA5}">
                      <a16:colId xmlns:a16="http://schemas.microsoft.com/office/drawing/2014/main" val="20001"/>
                    </a:ext>
                  </a:extLst>
                </a:gridCol>
                <a:gridCol w="899401">
                  <a:extLst>
                    <a:ext uri="{9D8B030D-6E8A-4147-A177-3AD203B41FA5}">
                      <a16:colId xmlns:a16="http://schemas.microsoft.com/office/drawing/2014/main" val="20002"/>
                    </a:ext>
                  </a:extLst>
                </a:gridCol>
                <a:gridCol w="899401">
                  <a:extLst>
                    <a:ext uri="{9D8B030D-6E8A-4147-A177-3AD203B41FA5}">
                      <a16:colId xmlns:a16="http://schemas.microsoft.com/office/drawing/2014/main" val="20003"/>
                    </a:ext>
                  </a:extLst>
                </a:gridCol>
              </a:tblGrid>
              <a:tr h="620623">
                <a:tc>
                  <a:txBody>
                    <a:bodyPr/>
                    <a:lstStyle/>
                    <a:p>
                      <a:pPr algn="l" fontAlgn="b"/>
                      <a:br>
                        <a:rPr lang="de-DE" sz="1200" b="1" i="0" u="none" strike="noStrike" dirty="0">
                          <a:solidFill>
                            <a:schemeClr val="bg1"/>
                          </a:solidFill>
                          <a:effectLst/>
                          <a:latin typeface="+mn-lt"/>
                        </a:rPr>
                      </a:br>
                      <a:endParaRPr lang="de-DE" sz="1200" b="1" i="0" u="none" strike="noStrike" dirty="0">
                        <a:solidFill>
                          <a:schemeClr val="bg1"/>
                        </a:solidFill>
                        <a:effectLst/>
                        <a:latin typeface="+mn-lt"/>
                      </a:endParaRPr>
                    </a:p>
                  </a:txBody>
                  <a:tcPr marL="71990" marR="35995" marT="35992" marB="35992" anchor="b">
                    <a:solidFill>
                      <a:schemeClr val="accent2"/>
                    </a:solidFill>
                  </a:tcPr>
                </a:tc>
                <a:tc>
                  <a:txBody>
                    <a:bodyPr/>
                    <a:lstStyle/>
                    <a:p>
                      <a:pPr algn="r" fontAlgn="b"/>
                      <a:r>
                        <a:rPr lang="de-DE" sz="1200" b="1" i="0" u="none" strike="noStrike" dirty="0">
                          <a:solidFill>
                            <a:schemeClr val="bg1"/>
                          </a:solidFill>
                          <a:effectLst/>
                          <a:latin typeface="+mn-lt"/>
                        </a:rPr>
                        <a:t>Minijob + Pflicht-versicherung</a:t>
                      </a:r>
                    </a:p>
                  </a:txBody>
                  <a:tcPr marL="0" marR="71990" marT="35992" marB="35992" anchor="b">
                    <a:solidFill>
                      <a:schemeClr val="accent2"/>
                    </a:solidFill>
                  </a:tcPr>
                </a:tc>
                <a:tc>
                  <a:txBody>
                    <a:bodyPr/>
                    <a:lstStyle/>
                    <a:p>
                      <a:pPr algn="r" fontAlgn="b"/>
                      <a:r>
                        <a:rPr lang="de-DE" sz="1200" b="1" i="0" u="none" strike="noStrike" dirty="0">
                          <a:solidFill>
                            <a:schemeClr val="bg1"/>
                          </a:solidFill>
                          <a:effectLst/>
                          <a:latin typeface="+mn-lt"/>
                        </a:rPr>
                        <a:t>Mehrarbeit</a:t>
                      </a:r>
                      <a:br>
                        <a:rPr lang="de-DE" sz="1200" b="1" i="0" u="none" strike="noStrike" dirty="0">
                          <a:solidFill>
                            <a:schemeClr val="bg1"/>
                          </a:solidFill>
                          <a:effectLst/>
                          <a:latin typeface="+mn-lt"/>
                        </a:rPr>
                      </a:br>
                      <a:r>
                        <a:rPr lang="de-DE" sz="1200" b="1" i="0" u="none" strike="noStrike" dirty="0">
                          <a:solidFill>
                            <a:schemeClr val="bg1"/>
                          </a:solidFill>
                          <a:effectLst/>
                          <a:latin typeface="+mn-lt"/>
                        </a:rPr>
                        <a:t>mit </a:t>
                      </a:r>
                      <a:r>
                        <a:rPr lang="de-DE" sz="1200" b="1" i="0" u="none" strike="noStrike" dirty="0" err="1">
                          <a:solidFill>
                            <a:schemeClr val="bg1"/>
                          </a:solidFill>
                          <a:effectLst/>
                          <a:latin typeface="+mn-lt"/>
                        </a:rPr>
                        <a:t>bAV</a:t>
                      </a:r>
                      <a:endParaRPr lang="de-DE" sz="1200" b="1" i="0" u="none" strike="noStrike" dirty="0">
                        <a:solidFill>
                          <a:schemeClr val="bg1"/>
                        </a:solidFill>
                        <a:effectLst/>
                        <a:latin typeface="+mn-lt"/>
                      </a:endParaRPr>
                    </a:p>
                  </a:txBody>
                  <a:tcPr marL="35995" marR="71990" marT="35992" marB="35992" anchor="b">
                    <a:solidFill>
                      <a:schemeClr val="accent2"/>
                    </a:solidFill>
                  </a:tcPr>
                </a:tc>
                <a:tc>
                  <a:txBody>
                    <a:bodyPr/>
                    <a:lstStyle/>
                    <a:p>
                      <a:pPr algn="r" fontAlgn="b"/>
                      <a:r>
                        <a:rPr lang="de-DE" sz="1200" b="1" i="0" u="none" strike="noStrike" dirty="0">
                          <a:solidFill>
                            <a:schemeClr val="bg1"/>
                          </a:solidFill>
                          <a:effectLst/>
                          <a:latin typeface="+mn-lt"/>
                        </a:rPr>
                        <a:t>Mehrarbeit</a:t>
                      </a:r>
                      <a:br>
                        <a:rPr lang="de-DE" sz="1200" b="1" i="0" u="none" strike="noStrike" dirty="0">
                          <a:solidFill>
                            <a:schemeClr val="bg1"/>
                          </a:solidFill>
                          <a:effectLst/>
                          <a:latin typeface="+mn-lt"/>
                        </a:rPr>
                      </a:br>
                      <a:r>
                        <a:rPr lang="de-DE" sz="1200" b="1" i="0" u="none" strike="noStrike" dirty="0">
                          <a:solidFill>
                            <a:schemeClr val="bg1"/>
                          </a:solidFill>
                          <a:effectLst/>
                          <a:latin typeface="+mn-lt"/>
                        </a:rPr>
                        <a:t>ohne </a:t>
                      </a:r>
                      <a:r>
                        <a:rPr lang="de-DE" sz="1200" b="1" i="0" u="none" strike="noStrike" dirty="0" err="1">
                          <a:solidFill>
                            <a:schemeClr val="bg1"/>
                          </a:solidFill>
                          <a:effectLst/>
                          <a:latin typeface="+mn-lt"/>
                        </a:rPr>
                        <a:t>bAV</a:t>
                      </a:r>
                      <a:endParaRPr lang="de-DE" sz="1200" b="1" i="0" u="none" strike="noStrike" dirty="0">
                        <a:solidFill>
                          <a:schemeClr val="bg1"/>
                        </a:solidFill>
                        <a:effectLst/>
                        <a:latin typeface="+mn-lt"/>
                      </a:endParaRPr>
                    </a:p>
                  </a:txBody>
                  <a:tcPr marL="35995" marR="71990" marT="35992" marB="35992" anchor="b">
                    <a:solidFill>
                      <a:schemeClr val="accent2"/>
                    </a:solidFill>
                  </a:tcPr>
                </a:tc>
                <a:extLst>
                  <a:ext uri="{0D108BD9-81ED-4DB2-BD59-A6C34878D82A}">
                    <a16:rowId xmlns:a16="http://schemas.microsoft.com/office/drawing/2014/main" val="10000"/>
                  </a:ext>
                </a:extLst>
              </a:tr>
              <a:tr h="303621">
                <a:tc>
                  <a:txBody>
                    <a:bodyPr/>
                    <a:lstStyle/>
                    <a:p>
                      <a:pPr algn="l" fontAlgn="b"/>
                      <a:r>
                        <a:rPr lang="de-DE" sz="1200" b="0" i="0" u="none" strike="noStrike" dirty="0">
                          <a:solidFill>
                            <a:srgbClr val="000000"/>
                          </a:solidFill>
                          <a:effectLst/>
                          <a:latin typeface="+mn-lt"/>
                        </a:rPr>
                        <a:t>Gehalt</a:t>
                      </a:r>
                    </a:p>
                  </a:txBody>
                  <a:tcPr marL="71990" marR="35995" marT="35992" marB="35992" anchor="ctr"/>
                </a:tc>
                <a:tc>
                  <a:txBody>
                    <a:bodyPr/>
                    <a:lstStyle/>
                    <a:p>
                      <a:pPr algn="r" fontAlgn="b"/>
                      <a:r>
                        <a:rPr lang="de-DE" sz="1200" b="0" i="0" u="none" strike="noStrike" dirty="0">
                          <a:solidFill>
                            <a:srgbClr val="000000"/>
                          </a:solidFill>
                          <a:effectLst/>
                          <a:latin typeface="+mn-lt"/>
                        </a:rPr>
                        <a:t>450,00 €</a:t>
                      </a:r>
                    </a:p>
                  </a:txBody>
                  <a:tcPr marL="35995" marR="71990" marT="35992" marB="35992" anchor="ctr"/>
                </a:tc>
                <a:tc>
                  <a:txBody>
                    <a:bodyPr/>
                    <a:lstStyle/>
                    <a:p>
                      <a:pPr algn="r" fontAlgn="b"/>
                      <a:r>
                        <a:rPr lang="de-DE" sz="1200" b="0" i="0" u="none" strike="noStrike" dirty="0">
                          <a:solidFill>
                            <a:srgbClr val="000000"/>
                          </a:solidFill>
                          <a:effectLst/>
                          <a:latin typeface="+mn-lt"/>
                        </a:rPr>
                        <a:t>550,00 €</a:t>
                      </a:r>
                    </a:p>
                  </a:txBody>
                  <a:tcPr marL="35995" marR="71990" marT="35992" marB="35992" anchor="ctr"/>
                </a:tc>
                <a:tc>
                  <a:txBody>
                    <a:bodyPr/>
                    <a:lstStyle/>
                    <a:p>
                      <a:pPr algn="r" fontAlgn="b"/>
                      <a:r>
                        <a:rPr lang="de-DE" sz="1200" b="0" i="0" u="none" strike="noStrike" dirty="0">
                          <a:solidFill>
                            <a:srgbClr val="000000"/>
                          </a:solidFill>
                          <a:effectLst/>
                          <a:latin typeface="+mn-lt"/>
                        </a:rPr>
                        <a:t>550,00 €</a:t>
                      </a:r>
                    </a:p>
                  </a:txBody>
                  <a:tcPr marL="35995" marR="71990" marT="35992" marB="35992" anchor="ctr"/>
                </a:tc>
                <a:extLst>
                  <a:ext uri="{0D108BD9-81ED-4DB2-BD59-A6C34878D82A}">
                    <a16:rowId xmlns:a16="http://schemas.microsoft.com/office/drawing/2014/main" val="10001"/>
                  </a:ext>
                </a:extLst>
              </a:tr>
              <a:tr h="303621">
                <a:tc>
                  <a:txBody>
                    <a:bodyPr/>
                    <a:lstStyle/>
                    <a:p>
                      <a:pPr algn="l" fontAlgn="b"/>
                      <a:r>
                        <a:rPr lang="de-DE" sz="1200" b="0" i="0" u="none" strike="noStrike" dirty="0">
                          <a:solidFill>
                            <a:srgbClr val="000000"/>
                          </a:solidFill>
                          <a:effectLst/>
                          <a:latin typeface="+mn-lt"/>
                        </a:rPr>
                        <a:t>Entgeltumwandlung</a:t>
                      </a:r>
                      <a:endParaRPr lang="de-DE" sz="1200" b="0" i="0" u="none" strike="noStrike" kern="1200" dirty="0">
                        <a:solidFill>
                          <a:srgbClr val="000000"/>
                        </a:solidFill>
                        <a:effectLst/>
                        <a:latin typeface="+mn-lt"/>
                        <a:ea typeface="+mn-ea"/>
                        <a:cs typeface="+mn-cs"/>
                      </a:endParaRPr>
                    </a:p>
                  </a:txBody>
                  <a:tcPr marL="71990" marR="35995" marT="35992" marB="35992" anchor="ctr"/>
                </a:tc>
                <a:tc>
                  <a:txBody>
                    <a:bodyPr/>
                    <a:lstStyle/>
                    <a:p>
                      <a:pPr algn="r"/>
                      <a:r>
                        <a:rPr lang="de-DE" sz="1200" b="0" i="0" u="none" strike="noStrike" kern="1200" dirty="0">
                          <a:solidFill>
                            <a:srgbClr val="000000"/>
                          </a:solidFill>
                          <a:effectLst/>
                          <a:latin typeface="+mn-lt"/>
                          <a:ea typeface="+mn-ea"/>
                          <a:cs typeface="+mn-cs"/>
                        </a:rPr>
                        <a:t>–</a:t>
                      </a:r>
                    </a:p>
                  </a:txBody>
                  <a:tcPr marL="35995" marR="71990" marT="35992" marB="35992" anchor="ctr"/>
                </a:tc>
                <a:tc>
                  <a:txBody>
                    <a:bodyPr/>
                    <a:lstStyle/>
                    <a:p>
                      <a:pPr algn="r" fontAlgn="b"/>
                      <a:r>
                        <a:rPr lang="de-DE" sz="1200" b="0" i="0" u="none" strike="noStrike" dirty="0">
                          <a:solidFill>
                            <a:srgbClr val="000000"/>
                          </a:solidFill>
                          <a:effectLst/>
                          <a:latin typeface="+mn-lt"/>
                        </a:rPr>
                        <a:t>100,00 €</a:t>
                      </a:r>
                    </a:p>
                  </a:txBody>
                  <a:tcPr marL="35995" marR="71990" marT="35992" marB="35992" anchor="ctr"/>
                </a:tc>
                <a:tc>
                  <a:txBody>
                    <a:bodyPr/>
                    <a:lstStyle/>
                    <a:p>
                      <a:pPr algn="r"/>
                      <a:r>
                        <a:rPr lang="de-DE" sz="1200" b="0" i="0" u="none" strike="noStrike" kern="1200" dirty="0">
                          <a:solidFill>
                            <a:srgbClr val="000000"/>
                          </a:solidFill>
                          <a:effectLst/>
                          <a:latin typeface="+mn-lt"/>
                          <a:ea typeface="+mn-ea"/>
                          <a:cs typeface="+mn-cs"/>
                        </a:rPr>
                        <a:t>–</a:t>
                      </a:r>
                    </a:p>
                  </a:txBody>
                  <a:tcPr marL="35995" marR="71990" marT="35992" marB="35992" anchor="ctr"/>
                </a:tc>
                <a:extLst>
                  <a:ext uri="{0D108BD9-81ED-4DB2-BD59-A6C34878D82A}">
                    <a16:rowId xmlns:a16="http://schemas.microsoft.com/office/drawing/2014/main" val="10002"/>
                  </a:ext>
                </a:extLst>
              </a:tr>
              <a:tr h="303621">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de-DE" sz="1200" b="0" i="0" u="none" strike="noStrike" dirty="0">
                          <a:solidFill>
                            <a:srgbClr val="000000"/>
                          </a:solidFill>
                          <a:effectLst/>
                          <a:latin typeface="+mn-lt"/>
                        </a:rPr>
                        <a:t>SV-pflichtiges Gehalt</a:t>
                      </a:r>
                    </a:p>
                  </a:txBody>
                  <a:tcPr marL="71990" marR="35995" marT="35992" marB="35992" anchor="ctr"/>
                </a:tc>
                <a:tc>
                  <a:txBody>
                    <a:bodyPr/>
                    <a:lstStyle/>
                    <a:p>
                      <a:pPr marL="0" marR="0" indent="0" algn="r" defTabSz="457200" rtl="0" eaLnBrk="1" fontAlgn="b" latinLnBrk="0" hangingPunct="1">
                        <a:lnSpc>
                          <a:spcPct val="100000"/>
                        </a:lnSpc>
                        <a:spcBef>
                          <a:spcPts val="0"/>
                        </a:spcBef>
                        <a:spcAft>
                          <a:spcPts val="0"/>
                        </a:spcAft>
                        <a:buClrTx/>
                        <a:buSzTx/>
                        <a:buFontTx/>
                        <a:buNone/>
                        <a:tabLst/>
                        <a:defRPr/>
                      </a:pPr>
                      <a:r>
                        <a:rPr lang="de-DE" sz="1200" b="0" i="0" u="none" strike="noStrike" dirty="0">
                          <a:solidFill>
                            <a:srgbClr val="000000"/>
                          </a:solidFill>
                          <a:effectLst/>
                          <a:latin typeface="+mn-lt"/>
                        </a:rPr>
                        <a:t>450,00 €</a:t>
                      </a:r>
                    </a:p>
                  </a:txBody>
                  <a:tcPr marL="35995" marR="71990" marT="35992" marB="35992" anchor="ctr">
                    <a:solidFill>
                      <a:srgbClr val="D4D9DA"/>
                    </a:solidFill>
                  </a:tcPr>
                </a:tc>
                <a:tc>
                  <a:txBody>
                    <a:bodyPr/>
                    <a:lstStyle/>
                    <a:p>
                      <a:pPr algn="r" fontAlgn="b"/>
                      <a:r>
                        <a:rPr lang="de-DE" sz="1200" b="0" i="0" u="none" strike="noStrike" dirty="0">
                          <a:solidFill>
                            <a:srgbClr val="000000"/>
                          </a:solidFill>
                          <a:effectLst/>
                          <a:latin typeface="+mn-lt"/>
                        </a:rPr>
                        <a:t>450,00 €</a:t>
                      </a:r>
                    </a:p>
                  </a:txBody>
                  <a:tcPr marL="35995" marR="71990" marT="35992" marB="35992" anchor="ctr">
                    <a:solidFill>
                      <a:srgbClr val="D4D9DA"/>
                    </a:solidFill>
                  </a:tcPr>
                </a:tc>
                <a:tc>
                  <a:txBody>
                    <a:bodyPr/>
                    <a:lstStyle/>
                    <a:p>
                      <a:pPr marL="0" marR="0" indent="0" algn="r" defTabSz="457200" rtl="0" eaLnBrk="1" fontAlgn="b" latinLnBrk="0" hangingPunct="1">
                        <a:lnSpc>
                          <a:spcPct val="100000"/>
                        </a:lnSpc>
                        <a:spcBef>
                          <a:spcPts val="0"/>
                        </a:spcBef>
                        <a:spcAft>
                          <a:spcPts val="0"/>
                        </a:spcAft>
                        <a:buClrTx/>
                        <a:buSzTx/>
                        <a:buFontTx/>
                        <a:buNone/>
                        <a:tabLst/>
                        <a:defRPr/>
                      </a:pPr>
                      <a:r>
                        <a:rPr lang="de-DE" sz="1200" b="0" i="0" u="none" strike="noStrike" dirty="0">
                          <a:solidFill>
                            <a:srgbClr val="000000"/>
                          </a:solidFill>
                          <a:effectLst/>
                          <a:latin typeface="+mn-lt"/>
                        </a:rPr>
                        <a:t>550,00 €</a:t>
                      </a:r>
                    </a:p>
                  </a:txBody>
                  <a:tcPr marL="35995" marR="71990" marT="35992" marB="35992" anchor="ctr">
                    <a:solidFill>
                      <a:srgbClr val="D4D9DA"/>
                    </a:solidFill>
                  </a:tcPr>
                </a:tc>
                <a:extLst>
                  <a:ext uri="{0D108BD9-81ED-4DB2-BD59-A6C34878D82A}">
                    <a16:rowId xmlns:a16="http://schemas.microsoft.com/office/drawing/2014/main" val="10003"/>
                  </a:ext>
                </a:extLst>
              </a:tr>
              <a:tr h="303621">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de-DE" sz="1200" b="0" i="0" u="none" strike="noStrike" dirty="0">
                          <a:solidFill>
                            <a:srgbClr val="000000"/>
                          </a:solidFill>
                          <a:effectLst/>
                          <a:latin typeface="+mn-lt"/>
                        </a:rPr>
                        <a:t>Sozialversicherungsbeiträge</a:t>
                      </a:r>
                    </a:p>
                  </a:txBody>
                  <a:tcPr marL="71990" marR="35995" marT="35992" marB="35992" anchor="ctr"/>
                </a:tc>
                <a:tc>
                  <a:txBody>
                    <a:bodyPr/>
                    <a:lstStyle/>
                    <a:p>
                      <a:pPr marL="0" marR="0" indent="0" algn="r" defTabSz="457200" rtl="0" eaLnBrk="1" fontAlgn="b" latinLnBrk="0" hangingPunct="1">
                        <a:lnSpc>
                          <a:spcPct val="100000"/>
                        </a:lnSpc>
                        <a:spcBef>
                          <a:spcPts val="0"/>
                        </a:spcBef>
                        <a:spcAft>
                          <a:spcPts val="0"/>
                        </a:spcAft>
                        <a:buClrTx/>
                        <a:buSzTx/>
                        <a:buFontTx/>
                        <a:buNone/>
                        <a:tabLst/>
                        <a:defRPr/>
                      </a:pPr>
                      <a:r>
                        <a:rPr lang="de-DE" sz="1200" b="0" i="0" u="none" strike="noStrike" dirty="0">
                          <a:solidFill>
                            <a:srgbClr val="000000"/>
                          </a:solidFill>
                          <a:effectLst/>
                          <a:latin typeface="+mn-lt"/>
                        </a:rPr>
                        <a:t>16,20 €</a:t>
                      </a:r>
                    </a:p>
                  </a:txBody>
                  <a:tcPr marL="35995" marR="71990" marT="35992" marB="35992" anchor="ctr"/>
                </a:tc>
                <a:tc>
                  <a:txBody>
                    <a:bodyPr/>
                    <a:lstStyle/>
                    <a:p>
                      <a:pPr algn="r" fontAlgn="b"/>
                      <a:r>
                        <a:rPr lang="de-DE" sz="1200" b="0" i="0" u="none" strike="noStrike" dirty="0">
                          <a:solidFill>
                            <a:srgbClr val="000000"/>
                          </a:solidFill>
                          <a:effectLst/>
                          <a:latin typeface="+mn-lt"/>
                        </a:rPr>
                        <a:t>16,20 €</a:t>
                      </a:r>
                    </a:p>
                  </a:txBody>
                  <a:tcPr marL="35995" marR="71990" marT="35992" marB="35992" anchor="ctr"/>
                </a:tc>
                <a:tc>
                  <a:txBody>
                    <a:bodyPr/>
                    <a:lstStyle/>
                    <a:p>
                      <a:pPr marL="0" marR="0" indent="0" algn="r" defTabSz="457200" rtl="0" eaLnBrk="1" fontAlgn="b" latinLnBrk="0" hangingPunct="1">
                        <a:lnSpc>
                          <a:spcPct val="100000"/>
                        </a:lnSpc>
                        <a:spcBef>
                          <a:spcPts val="0"/>
                        </a:spcBef>
                        <a:spcAft>
                          <a:spcPts val="0"/>
                        </a:spcAft>
                        <a:buClrTx/>
                        <a:buSzTx/>
                        <a:buFontTx/>
                        <a:buNone/>
                        <a:tabLst/>
                        <a:defRPr/>
                      </a:pPr>
                      <a:r>
                        <a:rPr lang="de-DE" sz="1200" b="0" i="0" u="none" strike="noStrike" dirty="0">
                          <a:solidFill>
                            <a:srgbClr val="000000"/>
                          </a:solidFill>
                          <a:effectLst/>
                          <a:latin typeface="+mn-lt"/>
                        </a:rPr>
                        <a:t>71,71 €</a:t>
                      </a:r>
                    </a:p>
                  </a:txBody>
                  <a:tcPr marL="35995" marR="71990" marT="35992" marB="35992" anchor="ctr"/>
                </a:tc>
                <a:extLst>
                  <a:ext uri="{0D108BD9-81ED-4DB2-BD59-A6C34878D82A}">
                    <a16:rowId xmlns:a16="http://schemas.microsoft.com/office/drawing/2014/main" val="10004"/>
                  </a:ext>
                </a:extLst>
              </a:tr>
              <a:tr h="303621">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de-DE" sz="1200" b="0" i="0" u="none" strike="noStrike" dirty="0">
                          <a:solidFill>
                            <a:srgbClr val="000000"/>
                          </a:solidFill>
                          <a:effectLst/>
                          <a:latin typeface="+mn-lt"/>
                        </a:rPr>
                        <a:t>Nettogehalt AN</a:t>
                      </a:r>
                    </a:p>
                  </a:txBody>
                  <a:tcPr marL="71990" marR="35995" marT="35992" marB="35992" anchor="ctr"/>
                </a:tc>
                <a:tc>
                  <a:txBody>
                    <a:bodyPr/>
                    <a:lstStyle/>
                    <a:p>
                      <a:pPr marL="0" marR="0" indent="0" algn="r" defTabSz="457200" rtl="0" eaLnBrk="1" fontAlgn="b" latinLnBrk="0" hangingPunct="1">
                        <a:lnSpc>
                          <a:spcPct val="100000"/>
                        </a:lnSpc>
                        <a:spcBef>
                          <a:spcPts val="0"/>
                        </a:spcBef>
                        <a:spcAft>
                          <a:spcPts val="0"/>
                        </a:spcAft>
                        <a:buClrTx/>
                        <a:buSzTx/>
                        <a:buFontTx/>
                        <a:buNone/>
                        <a:tabLst/>
                        <a:defRPr/>
                      </a:pPr>
                      <a:r>
                        <a:rPr lang="de-DE" sz="1200" b="0" i="0" u="none" strike="noStrike" dirty="0">
                          <a:solidFill>
                            <a:srgbClr val="000000"/>
                          </a:solidFill>
                          <a:effectLst/>
                          <a:latin typeface="+mn-lt"/>
                        </a:rPr>
                        <a:t>433,80 €</a:t>
                      </a:r>
                    </a:p>
                  </a:txBody>
                  <a:tcPr marL="35995" marR="71990" marT="35992" marB="35992" anchor="ctr"/>
                </a:tc>
                <a:tc>
                  <a:txBody>
                    <a:bodyPr/>
                    <a:lstStyle/>
                    <a:p>
                      <a:pPr marL="0" marR="0" indent="0" algn="r" defTabSz="457200" rtl="0" eaLnBrk="1" fontAlgn="b" latinLnBrk="0" hangingPunct="1">
                        <a:lnSpc>
                          <a:spcPct val="100000"/>
                        </a:lnSpc>
                        <a:spcBef>
                          <a:spcPts val="0"/>
                        </a:spcBef>
                        <a:spcAft>
                          <a:spcPts val="0"/>
                        </a:spcAft>
                        <a:buClrTx/>
                        <a:buSzTx/>
                        <a:buFontTx/>
                        <a:buNone/>
                        <a:tabLst/>
                        <a:defRPr/>
                      </a:pPr>
                      <a:r>
                        <a:rPr lang="de-DE" sz="1200" b="0" i="0" u="none" strike="noStrike" dirty="0">
                          <a:solidFill>
                            <a:srgbClr val="000000"/>
                          </a:solidFill>
                          <a:effectLst/>
                          <a:latin typeface="+mn-lt"/>
                        </a:rPr>
                        <a:t>433,80 €</a:t>
                      </a:r>
                    </a:p>
                  </a:txBody>
                  <a:tcPr marL="35995" marR="71990" marT="35992" marB="35992" anchor="ctr"/>
                </a:tc>
                <a:tc>
                  <a:txBody>
                    <a:bodyPr/>
                    <a:lstStyle/>
                    <a:p>
                      <a:pPr marL="0" marR="0" indent="0" algn="r" defTabSz="457200" rtl="0" eaLnBrk="1" fontAlgn="b" latinLnBrk="0" hangingPunct="1">
                        <a:lnSpc>
                          <a:spcPct val="100000"/>
                        </a:lnSpc>
                        <a:spcBef>
                          <a:spcPts val="0"/>
                        </a:spcBef>
                        <a:spcAft>
                          <a:spcPts val="0"/>
                        </a:spcAft>
                        <a:buClrTx/>
                        <a:buSzTx/>
                        <a:buFontTx/>
                        <a:buNone/>
                        <a:tabLst/>
                        <a:defRPr/>
                      </a:pPr>
                      <a:r>
                        <a:rPr lang="de-DE" sz="1200" b="0" i="0" u="none" strike="noStrike" dirty="0">
                          <a:solidFill>
                            <a:srgbClr val="000000"/>
                          </a:solidFill>
                          <a:effectLst/>
                          <a:latin typeface="+mn-lt"/>
                        </a:rPr>
                        <a:t>478,29 €</a:t>
                      </a:r>
                    </a:p>
                  </a:txBody>
                  <a:tcPr marL="35995" marR="71990" marT="35992" marB="35992" anchor="ctr"/>
                </a:tc>
                <a:extLst>
                  <a:ext uri="{0D108BD9-81ED-4DB2-BD59-A6C34878D82A}">
                    <a16:rowId xmlns:a16="http://schemas.microsoft.com/office/drawing/2014/main" val="10005"/>
                  </a:ext>
                </a:extLst>
              </a:tr>
              <a:tr h="303621">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de-DE" sz="1200" b="0" i="0" u="none" strike="noStrike" dirty="0">
                          <a:solidFill>
                            <a:srgbClr val="000000"/>
                          </a:solidFill>
                          <a:effectLst/>
                          <a:latin typeface="+mn-lt"/>
                        </a:rPr>
                        <a:t>Anspruch AN DRV ca.</a:t>
                      </a:r>
                      <a:r>
                        <a:rPr lang="de-DE" sz="1200" b="0" i="0" u="none" strike="noStrike" baseline="30000" dirty="0">
                          <a:solidFill>
                            <a:srgbClr val="000000"/>
                          </a:solidFill>
                          <a:effectLst/>
                          <a:latin typeface="+mn-lt"/>
                        </a:rPr>
                        <a:t>1</a:t>
                      </a:r>
                    </a:p>
                  </a:txBody>
                  <a:tcPr marL="71990" marR="35995" marT="35992" marB="35992" anchor="ctr"/>
                </a:tc>
                <a:tc>
                  <a:txBody>
                    <a:bodyPr/>
                    <a:lstStyle/>
                    <a:p>
                      <a:pPr marL="0" marR="0" indent="0" algn="r" defTabSz="457200" rtl="0" eaLnBrk="1" fontAlgn="b" latinLnBrk="0" hangingPunct="1">
                        <a:lnSpc>
                          <a:spcPct val="100000"/>
                        </a:lnSpc>
                        <a:spcBef>
                          <a:spcPts val="0"/>
                        </a:spcBef>
                        <a:spcAft>
                          <a:spcPts val="0"/>
                        </a:spcAft>
                        <a:buClrTx/>
                        <a:buSzTx/>
                        <a:buFontTx/>
                        <a:buNone/>
                        <a:tabLst/>
                        <a:defRPr/>
                      </a:pPr>
                      <a:r>
                        <a:rPr lang="de-DE" sz="1200" b="0" i="0" u="none" strike="noStrike" dirty="0">
                          <a:solidFill>
                            <a:srgbClr val="000000"/>
                          </a:solidFill>
                          <a:effectLst/>
                          <a:latin typeface="+mn-lt"/>
                        </a:rPr>
                        <a:t>198,05 €</a:t>
                      </a:r>
                    </a:p>
                  </a:txBody>
                  <a:tcPr marL="35995" marR="71990" marT="35992" marB="35992" anchor="ctr"/>
                </a:tc>
                <a:tc>
                  <a:txBody>
                    <a:bodyPr/>
                    <a:lstStyle/>
                    <a:p>
                      <a:pPr marL="0" marR="0" indent="0" algn="r" defTabSz="457200" rtl="0" eaLnBrk="1" fontAlgn="b" latinLnBrk="0" hangingPunct="1">
                        <a:lnSpc>
                          <a:spcPct val="100000"/>
                        </a:lnSpc>
                        <a:spcBef>
                          <a:spcPts val="0"/>
                        </a:spcBef>
                        <a:spcAft>
                          <a:spcPts val="0"/>
                        </a:spcAft>
                        <a:buClrTx/>
                        <a:buSzTx/>
                        <a:buFontTx/>
                        <a:buNone/>
                        <a:tabLst/>
                        <a:defRPr/>
                      </a:pPr>
                      <a:r>
                        <a:rPr lang="de-DE" sz="1200" b="0" i="0" u="none" strike="noStrike" dirty="0">
                          <a:solidFill>
                            <a:srgbClr val="000000"/>
                          </a:solidFill>
                          <a:effectLst/>
                          <a:latin typeface="+mn-lt"/>
                        </a:rPr>
                        <a:t>198,05 €</a:t>
                      </a:r>
                    </a:p>
                  </a:txBody>
                  <a:tcPr marL="35995" marR="71990" marT="35992" marB="35992" anchor="ctr"/>
                </a:tc>
                <a:tc>
                  <a:txBody>
                    <a:bodyPr/>
                    <a:lstStyle/>
                    <a:p>
                      <a:pPr marL="0" marR="0" indent="0" algn="r" defTabSz="457200" rtl="0" eaLnBrk="1" fontAlgn="b" latinLnBrk="0" hangingPunct="1">
                        <a:lnSpc>
                          <a:spcPct val="100000"/>
                        </a:lnSpc>
                        <a:spcBef>
                          <a:spcPts val="0"/>
                        </a:spcBef>
                        <a:spcAft>
                          <a:spcPts val="0"/>
                        </a:spcAft>
                        <a:buClrTx/>
                        <a:buSzTx/>
                        <a:buFontTx/>
                        <a:buNone/>
                        <a:tabLst/>
                        <a:defRPr/>
                      </a:pPr>
                      <a:r>
                        <a:rPr lang="de-DE" sz="1200" b="0" i="0" u="none" strike="noStrike" dirty="0">
                          <a:solidFill>
                            <a:srgbClr val="000000"/>
                          </a:solidFill>
                          <a:effectLst/>
                          <a:latin typeface="+mn-lt"/>
                        </a:rPr>
                        <a:t>242,06 €</a:t>
                      </a:r>
                    </a:p>
                  </a:txBody>
                  <a:tcPr marL="35995" marR="71990" marT="35992" marB="35992" anchor="ctr"/>
                </a:tc>
                <a:extLst>
                  <a:ext uri="{0D108BD9-81ED-4DB2-BD59-A6C34878D82A}">
                    <a16:rowId xmlns:a16="http://schemas.microsoft.com/office/drawing/2014/main" val="10006"/>
                  </a:ext>
                </a:extLst>
              </a:tr>
              <a:tr h="303621">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de-DE" sz="1200" b="0" i="0" u="none" strike="noStrike" dirty="0">
                          <a:solidFill>
                            <a:srgbClr val="000000"/>
                          </a:solidFill>
                          <a:effectLst/>
                          <a:latin typeface="+mn-lt"/>
                        </a:rPr>
                        <a:t>Anspruch AN Direktversicherung</a:t>
                      </a:r>
                      <a:r>
                        <a:rPr lang="de-DE" sz="1200" b="0" i="0" u="none" strike="noStrike" baseline="30000" dirty="0">
                          <a:solidFill>
                            <a:srgbClr val="000000"/>
                          </a:solidFill>
                          <a:effectLst/>
                          <a:latin typeface="+mn-lt"/>
                        </a:rPr>
                        <a:t>2</a:t>
                      </a:r>
                      <a:endParaRPr lang="de-DE" sz="1200" b="0" i="0" u="none" strike="noStrike" dirty="0">
                        <a:solidFill>
                          <a:srgbClr val="000000"/>
                        </a:solidFill>
                        <a:effectLst/>
                        <a:latin typeface="+mn-lt"/>
                      </a:endParaRPr>
                    </a:p>
                  </a:txBody>
                  <a:tcPr marL="71990" marR="35995" marT="35992" marB="35992" anchor="ctr"/>
                </a:tc>
                <a:tc>
                  <a:txBody>
                    <a:bodyPr/>
                    <a:lstStyle/>
                    <a:p>
                      <a:pPr marL="0" marR="0" indent="0" algn="r" defTabSz="457200" rtl="0" eaLnBrk="1" fontAlgn="b" latinLnBrk="0" hangingPunct="1">
                        <a:lnSpc>
                          <a:spcPct val="100000"/>
                        </a:lnSpc>
                        <a:spcBef>
                          <a:spcPts val="0"/>
                        </a:spcBef>
                        <a:spcAft>
                          <a:spcPts val="0"/>
                        </a:spcAft>
                        <a:buClrTx/>
                        <a:buSzTx/>
                        <a:buFontTx/>
                        <a:buNone/>
                        <a:tabLst/>
                        <a:defRPr/>
                      </a:pPr>
                      <a:r>
                        <a:rPr lang="de-DE" sz="1200" b="0" i="0" u="none" strike="noStrike" dirty="0">
                          <a:solidFill>
                            <a:srgbClr val="000000"/>
                          </a:solidFill>
                          <a:effectLst/>
                          <a:latin typeface="+mn-lt"/>
                        </a:rPr>
                        <a:t>–</a:t>
                      </a:r>
                    </a:p>
                  </a:txBody>
                  <a:tcPr marL="35995" marR="71990" marT="35992" marB="35992" anchor="ctr"/>
                </a:tc>
                <a:tc>
                  <a:txBody>
                    <a:bodyPr/>
                    <a:lstStyle/>
                    <a:p>
                      <a:pPr marL="0" marR="0" indent="0" algn="r" defTabSz="457200" rtl="0" eaLnBrk="1" fontAlgn="b" latinLnBrk="0" hangingPunct="1">
                        <a:lnSpc>
                          <a:spcPct val="100000"/>
                        </a:lnSpc>
                        <a:spcBef>
                          <a:spcPts val="0"/>
                        </a:spcBef>
                        <a:spcAft>
                          <a:spcPts val="0"/>
                        </a:spcAft>
                        <a:buClrTx/>
                        <a:buSzTx/>
                        <a:buFontTx/>
                        <a:buNone/>
                        <a:tabLst/>
                        <a:defRPr/>
                      </a:pPr>
                      <a:r>
                        <a:rPr lang="de-DE" sz="1200" b="0" i="0" u="none" strike="noStrike" dirty="0">
                          <a:solidFill>
                            <a:srgbClr val="000000"/>
                          </a:solidFill>
                          <a:effectLst/>
                          <a:latin typeface="+mn-lt"/>
                        </a:rPr>
                        <a:t>239,00 €</a:t>
                      </a:r>
                    </a:p>
                  </a:txBody>
                  <a:tcPr marL="35995" marR="71990" marT="35992" marB="35992" anchor="ctr"/>
                </a:tc>
                <a:tc>
                  <a:txBody>
                    <a:bodyPr/>
                    <a:lstStyle/>
                    <a:p>
                      <a:pPr marL="0" marR="0" indent="0" algn="r" defTabSz="457200" rtl="0" eaLnBrk="1" fontAlgn="b" latinLnBrk="0" hangingPunct="1">
                        <a:lnSpc>
                          <a:spcPct val="100000"/>
                        </a:lnSpc>
                        <a:spcBef>
                          <a:spcPts val="0"/>
                        </a:spcBef>
                        <a:spcAft>
                          <a:spcPts val="0"/>
                        </a:spcAft>
                        <a:buClrTx/>
                        <a:buSzTx/>
                        <a:buFontTx/>
                        <a:buNone/>
                        <a:tabLst/>
                        <a:defRPr/>
                      </a:pPr>
                      <a:r>
                        <a:rPr lang="de-DE" sz="1200" b="0" i="0" u="none" strike="noStrike" dirty="0">
                          <a:solidFill>
                            <a:srgbClr val="000000"/>
                          </a:solidFill>
                          <a:effectLst/>
                          <a:latin typeface="+mn-lt"/>
                        </a:rPr>
                        <a:t>–</a:t>
                      </a:r>
                    </a:p>
                  </a:txBody>
                  <a:tcPr marL="35995" marR="71990" marT="35992" marB="35992" anchor="ctr"/>
                </a:tc>
                <a:extLst>
                  <a:ext uri="{0D108BD9-81ED-4DB2-BD59-A6C34878D82A}">
                    <a16:rowId xmlns:a16="http://schemas.microsoft.com/office/drawing/2014/main" val="10007"/>
                  </a:ext>
                </a:extLst>
              </a:tr>
              <a:tr h="303621">
                <a:tc>
                  <a:txBody>
                    <a:bodyPr/>
                    <a:lstStyle/>
                    <a:p>
                      <a:pPr algn="l" fontAlgn="b"/>
                      <a:r>
                        <a:rPr lang="de-DE" sz="1200" b="1" i="0" u="none" strike="noStrike" dirty="0">
                          <a:solidFill>
                            <a:schemeClr val="bg1"/>
                          </a:solidFill>
                          <a:effectLst/>
                          <a:latin typeface="+mn-lt"/>
                        </a:rPr>
                        <a:t>Rentenanspruch</a:t>
                      </a:r>
                      <a:r>
                        <a:rPr lang="de-DE" sz="1200" b="1" i="0" u="none" strike="noStrike" baseline="0" dirty="0">
                          <a:solidFill>
                            <a:schemeClr val="bg1"/>
                          </a:solidFill>
                          <a:effectLst/>
                          <a:latin typeface="+mn-lt"/>
                        </a:rPr>
                        <a:t> </a:t>
                      </a:r>
                      <a:r>
                        <a:rPr lang="de-DE" sz="1200" b="1" i="0" u="none" strike="noStrike" dirty="0">
                          <a:solidFill>
                            <a:schemeClr val="bg1"/>
                          </a:solidFill>
                          <a:effectLst/>
                          <a:latin typeface="+mn-lt"/>
                        </a:rPr>
                        <a:t>gesamt</a:t>
                      </a:r>
                    </a:p>
                  </a:txBody>
                  <a:tcPr marL="71990" marR="35995" marT="35992" marB="35992" anchor="ctr">
                    <a:solidFill>
                      <a:schemeClr val="accent6"/>
                    </a:solidFill>
                  </a:tcPr>
                </a:tc>
                <a:tc>
                  <a:txBody>
                    <a:bodyPr/>
                    <a:lstStyle/>
                    <a:p>
                      <a:pPr algn="r" fontAlgn="b"/>
                      <a:r>
                        <a:rPr lang="de-DE" sz="1200" b="1" i="0" u="none" strike="noStrike" dirty="0">
                          <a:solidFill>
                            <a:schemeClr val="bg1"/>
                          </a:solidFill>
                          <a:effectLst/>
                          <a:latin typeface="+mn-lt"/>
                        </a:rPr>
                        <a:t>198,05 €</a:t>
                      </a:r>
                    </a:p>
                  </a:txBody>
                  <a:tcPr marL="35995" marR="71990" marT="35992" marB="35992" anchor="ctr">
                    <a:solidFill>
                      <a:schemeClr val="accent6"/>
                    </a:solidFill>
                  </a:tcPr>
                </a:tc>
                <a:tc>
                  <a:txBody>
                    <a:bodyPr/>
                    <a:lstStyle/>
                    <a:p>
                      <a:pPr algn="r" fontAlgn="b"/>
                      <a:r>
                        <a:rPr lang="de-DE" sz="1200" b="1" i="0" u="none" strike="noStrike" dirty="0">
                          <a:solidFill>
                            <a:schemeClr val="bg1"/>
                          </a:solidFill>
                          <a:effectLst/>
                          <a:latin typeface="+mn-lt"/>
                        </a:rPr>
                        <a:t>437,05 €</a:t>
                      </a:r>
                    </a:p>
                  </a:txBody>
                  <a:tcPr marL="35995" marR="71990" marT="35992" marB="35992" anchor="ctr">
                    <a:solidFill>
                      <a:schemeClr val="accent6"/>
                    </a:solidFill>
                  </a:tcPr>
                </a:tc>
                <a:tc>
                  <a:txBody>
                    <a:bodyPr/>
                    <a:lstStyle/>
                    <a:p>
                      <a:pPr algn="r" fontAlgn="b"/>
                      <a:r>
                        <a:rPr lang="de-DE" sz="1200" b="1" i="0" u="none" strike="noStrike" dirty="0">
                          <a:solidFill>
                            <a:schemeClr val="bg1"/>
                          </a:solidFill>
                          <a:effectLst/>
                          <a:latin typeface="+mn-lt"/>
                        </a:rPr>
                        <a:t>242,06 €</a:t>
                      </a:r>
                    </a:p>
                  </a:txBody>
                  <a:tcPr marL="35995" marR="71990" marT="35992" marB="35992" anchor="ctr">
                    <a:solidFill>
                      <a:schemeClr val="accent6"/>
                    </a:solidFill>
                  </a:tcPr>
                </a:tc>
                <a:extLst>
                  <a:ext uri="{0D108BD9-81ED-4DB2-BD59-A6C34878D82A}">
                    <a16:rowId xmlns:a16="http://schemas.microsoft.com/office/drawing/2014/main" val="10008"/>
                  </a:ext>
                </a:extLst>
              </a:tr>
            </a:tbl>
          </a:graphicData>
        </a:graphic>
      </p:graphicFrame>
      <p:sp>
        <p:nvSpPr>
          <p:cNvPr id="11" name="Rectangle 7"/>
          <p:cNvSpPr>
            <a:spLocks noChangeArrowheads="1"/>
          </p:cNvSpPr>
          <p:nvPr/>
        </p:nvSpPr>
        <p:spPr bwMode="auto">
          <a:xfrm>
            <a:off x="5954713" y="3800894"/>
            <a:ext cx="2700337" cy="209288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0" tIns="0" rIns="0" bIns="0" anchor="b">
            <a:spAutoFit/>
          </a:bodyPr>
          <a:lstStyle/>
          <a:p>
            <a:pPr eaLnBrk="1" hangingPunct="1">
              <a:spcBef>
                <a:spcPts val="300"/>
              </a:spcBef>
              <a:tabLst>
                <a:tab pos="88900" algn="l"/>
                <a:tab pos="4491038" algn="l"/>
                <a:tab pos="4940300" algn="l"/>
                <a:tab pos="5389563" algn="l"/>
                <a:tab pos="5838825" algn="l"/>
                <a:tab pos="6288088" algn="l"/>
                <a:tab pos="6737350" algn="l"/>
                <a:tab pos="7186613" algn="l"/>
                <a:tab pos="7635875" algn="l"/>
                <a:tab pos="8085138" algn="l"/>
                <a:tab pos="8534400" algn="l"/>
                <a:tab pos="8983663" algn="l"/>
              </a:tabLst>
              <a:defRPr/>
            </a:pPr>
            <a:r>
              <a:rPr lang="de-DE" sz="650" b="1" dirty="0">
                <a:latin typeface="Arial" panose="020B0604020202020204" pitchFamily="34" charset="0"/>
              </a:rPr>
              <a:t>Berechnungsgrundlage</a:t>
            </a:r>
          </a:p>
          <a:p>
            <a:pPr marL="53975" indent="-53975" eaLnBrk="1" hangingPunct="1">
              <a:spcBef>
                <a:spcPts val="300"/>
              </a:spcBef>
              <a:tabLst>
                <a:tab pos="4491038" algn="l"/>
                <a:tab pos="4940300" algn="l"/>
                <a:tab pos="5389563" algn="l"/>
                <a:tab pos="5838825" algn="l"/>
                <a:tab pos="6288088" algn="l"/>
                <a:tab pos="6737350" algn="l"/>
                <a:tab pos="7186613" algn="l"/>
                <a:tab pos="7635875" algn="l"/>
                <a:tab pos="8085138" algn="l"/>
                <a:tab pos="8534400" algn="l"/>
                <a:tab pos="8983663" algn="l"/>
              </a:tabLst>
              <a:defRPr/>
            </a:pPr>
            <a:r>
              <a:rPr lang="de-DE" sz="650" baseline="30000" dirty="0">
                <a:latin typeface="Arial" panose="020B0604020202020204" pitchFamily="34" charset="0"/>
              </a:rPr>
              <a:t>1</a:t>
            </a:r>
            <a:r>
              <a:rPr lang="de-DE" sz="650" dirty="0">
                <a:latin typeface="Arial" panose="020B0604020202020204" pitchFamily="34" charset="0"/>
              </a:rPr>
              <a:t> </a:t>
            </a:r>
            <a:r>
              <a:rPr lang="de-DE" sz="650" dirty="0"/>
              <a:t>Simulierte gesetzliche Altersrente mit Beitragszahlung ab dem 23. Lebensjahr.</a:t>
            </a:r>
            <a:endParaRPr lang="de-DE" sz="650" dirty="0">
              <a:latin typeface="Arial" panose="020B0604020202020204" pitchFamily="34" charset="0"/>
            </a:endParaRPr>
          </a:p>
          <a:p>
            <a:pPr marL="53975" indent="-53975" eaLnBrk="1" hangingPunct="1">
              <a:spcBef>
                <a:spcPts val="300"/>
              </a:spcBef>
              <a:tabLst>
                <a:tab pos="4491038" algn="l"/>
                <a:tab pos="4940300" algn="l"/>
                <a:tab pos="5389563" algn="l"/>
                <a:tab pos="5838825" algn="l"/>
                <a:tab pos="6288088" algn="l"/>
                <a:tab pos="6737350" algn="l"/>
                <a:tab pos="7186613" algn="l"/>
                <a:tab pos="7635875" algn="l"/>
                <a:tab pos="8085138" algn="l"/>
                <a:tab pos="8534400" algn="l"/>
                <a:tab pos="8983663" algn="l"/>
              </a:tabLst>
              <a:defRPr/>
            </a:pPr>
            <a:r>
              <a:rPr lang="de-DE" sz="650" baseline="30000" dirty="0"/>
              <a:t>2</a:t>
            </a:r>
            <a:r>
              <a:rPr lang="de-DE" sz="650" dirty="0">
                <a:latin typeface="Arial" panose="020B0604020202020204" pitchFamily="34" charset="0"/>
              </a:rPr>
              <a:t> Eintrittsalter 35 Jahre, Rentenbeginn 67, Todesfallleistung aus Rentengarantiezeit 10 Jahre, dynamische Rente, Tarif 68BO (01/2020), unterstellte jährliche Indexpartizipation von 4 %, 100 % Indexbeteiligungsquote und unveränderte Überschussbeteiligung zu Vertragsabschluss im </a:t>
            </a:r>
            <a:r>
              <a:rPr lang="de-DE" sz="650" dirty="0"/>
              <a:t>Jahre 2020 für die </a:t>
            </a:r>
            <a:r>
              <a:rPr lang="de-DE" sz="650" dirty="0">
                <a:latin typeface="Arial" panose="020B0604020202020204" pitchFamily="34" charset="0"/>
              </a:rPr>
              <a:t>gesamte Laufzeit. </a:t>
            </a:r>
          </a:p>
          <a:p>
            <a:pPr marL="53975" eaLnBrk="1" hangingPunct="1">
              <a:spcBef>
                <a:spcPts val="300"/>
              </a:spcBef>
              <a:tabLst>
                <a:tab pos="4491038" algn="l"/>
                <a:tab pos="4940300" algn="l"/>
                <a:tab pos="5389563" algn="l"/>
                <a:tab pos="5838825" algn="l"/>
                <a:tab pos="6288088" algn="l"/>
                <a:tab pos="6737350" algn="l"/>
                <a:tab pos="7186613" algn="l"/>
                <a:tab pos="7635875" algn="l"/>
                <a:tab pos="8085138" algn="l"/>
                <a:tab pos="8534400" algn="l"/>
                <a:tab pos="8983663" algn="l"/>
              </a:tabLst>
              <a:defRPr/>
            </a:pPr>
            <a:r>
              <a:rPr lang="de-DE" sz="650" dirty="0"/>
              <a:t>Die Werte enthalten Leistungen aus der Überschussbeteiligung. Außerdem basieren sie auf fiktiven Annahmen zur Indexpartizipation vor Beginn der Rentenzahlung. Wir können diese Werte nicht garantieren. </a:t>
            </a:r>
          </a:p>
          <a:p>
            <a:pPr marL="53975" eaLnBrk="1" hangingPunct="1">
              <a:spcBef>
                <a:spcPts val="300"/>
              </a:spcBef>
              <a:tabLst>
                <a:tab pos="88900" algn="l"/>
                <a:tab pos="4491038" algn="l"/>
                <a:tab pos="4940300" algn="l"/>
                <a:tab pos="5389563" algn="l"/>
                <a:tab pos="5838825" algn="l"/>
                <a:tab pos="6288088" algn="l"/>
                <a:tab pos="6737350" algn="l"/>
                <a:tab pos="7186613" algn="l"/>
                <a:tab pos="7635875" algn="l"/>
                <a:tab pos="8085138" algn="l"/>
                <a:tab pos="8534400" algn="l"/>
                <a:tab pos="8983663" algn="l"/>
              </a:tabLst>
              <a:defRPr/>
            </a:pPr>
            <a:r>
              <a:rPr lang="de-DE" sz="650" dirty="0"/>
              <a:t>Steuer- und Sozialversicherungsfreiheit der Beiträge ggf. bis 4 % der BBG (</a:t>
            </a:r>
            <a:r>
              <a:rPr lang="de-DE" sz="650" dirty="0">
                <a:latin typeface="Arial" panose="020B0604020202020204" pitchFamily="34" charset="0"/>
              </a:rPr>
              <a:t>2020: 3.312 € p.a.). </a:t>
            </a:r>
          </a:p>
          <a:p>
            <a:pPr marL="53975" eaLnBrk="1" hangingPunct="1">
              <a:spcBef>
                <a:spcPts val="300"/>
              </a:spcBef>
              <a:tabLst>
                <a:tab pos="88900" algn="l"/>
                <a:tab pos="4491038" algn="l"/>
                <a:tab pos="4940300" algn="l"/>
                <a:tab pos="5389563" algn="l"/>
                <a:tab pos="5838825" algn="l"/>
                <a:tab pos="6288088" algn="l"/>
                <a:tab pos="6737350" algn="l"/>
                <a:tab pos="7186613" algn="l"/>
                <a:tab pos="7635875" algn="l"/>
                <a:tab pos="8085138" algn="l"/>
                <a:tab pos="8534400" algn="l"/>
                <a:tab pos="8983663" algn="l"/>
              </a:tabLst>
              <a:defRPr/>
            </a:pPr>
            <a:r>
              <a:rPr lang="de-DE" sz="650" dirty="0">
                <a:latin typeface="Arial" panose="020B0604020202020204" pitchFamily="34" charset="0"/>
              </a:rPr>
              <a:t>Leistungen aus geförderten Beiträgen und Zuzahlungen sind nach § 22 Nr. 5 EStG in vollem Umfang einkommensteuerpflichtig. </a:t>
            </a:r>
            <a:r>
              <a:rPr lang="de-DE" sz="650" dirty="0"/>
              <a:t>Für die Verbeitragung in der Sozialversicherung (Krankenversicherung der Rentner) während des Rentenbezuges gilt eine Freigrenze (§ 226 Abs. 2 SGB V) und darüber hinaus ein Freibetrag für Versorgungsbezüge der </a:t>
            </a:r>
            <a:r>
              <a:rPr lang="de-DE" sz="650" dirty="0" err="1"/>
              <a:t>bAV</a:t>
            </a:r>
            <a:r>
              <a:rPr lang="de-DE" sz="650" dirty="0"/>
              <a:t> (2020: 159,25 € p.m./ 19.110 € Kapitalleistung).</a:t>
            </a:r>
            <a:endParaRPr lang="de-DE" sz="650" dirty="0">
              <a:latin typeface="Arial" panose="020B0604020202020204" pitchFamily="34" charset="0"/>
            </a:endParaRPr>
          </a:p>
        </p:txBody>
      </p:sp>
    </p:spTree>
    <p:extLst>
      <p:ext uri="{BB962C8B-B14F-4D97-AF65-F5344CB8AC3E}">
        <p14:creationId xmlns:p14="http://schemas.microsoft.com/office/powerpoint/2010/main" val="351806136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a:t>Betriebliche Altersversorgung:</a:t>
            </a:r>
            <a:br>
              <a:rPr lang="de-DE" altLang="de-DE"/>
            </a:br>
            <a:r>
              <a:rPr lang="de-DE" altLang="de-DE"/>
              <a:t>Ihre Chancen als Minijobber im Überblick</a:t>
            </a:r>
            <a:endParaRPr lang="de-DE" dirty="0"/>
          </a:p>
        </p:txBody>
      </p:sp>
      <p:sp>
        <p:nvSpPr>
          <p:cNvPr id="3" name="Textplatzhalter 2"/>
          <p:cNvSpPr>
            <a:spLocks noGrp="1"/>
          </p:cNvSpPr>
          <p:nvPr>
            <p:ph type="body" sz="quarter" idx="17"/>
          </p:nvPr>
        </p:nvSpPr>
        <p:spPr/>
        <p:txBody>
          <a:bodyPr/>
          <a:lstStyle/>
          <a:p>
            <a:pPr lvl="1"/>
            <a:r>
              <a:rPr lang="de-DE" altLang="de-DE" dirty="0"/>
              <a:t>Der Status Ihres geringfügigen Beschäftigungsverhältnisses bleibt erhalten – und damit etwaige Sozialversicherungsvorteile.</a:t>
            </a:r>
          </a:p>
          <a:p>
            <a:pPr lvl="1"/>
            <a:r>
              <a:rPr lang="de-DE" altLang="de-DE" dirty="0"/>
              <a:t>Sie können durch Einsatz Ihrer Arbeitskraft eine verlässliche Altersversorgung aufbauen.</a:t>
            </a:r>
          </a:p>
          <a:p>
            <a:pPr lvl="1"/>
            <a:r>
              <a:rPr lang="de-DE" altLang="de-DE" dirty="0"/>
              <a:t>Alle Beiträge zur bAV sind (bis 4 % der BBG) steuer- und ggf. sozialversicherungsfrei.</a:t>
            </a:r>
          </a:p>
        </p:txBody>
      </p:sp>
      <p:sp>
        <p:nvSpPr>
          <p:cNvPr id="4" name="Textplatzhalter 3"/>
          <p:cNvSpPr>
            <a:spLocks noGrp="1"/>
          </p:cNvSpPr>
          <p:nvPr>
            <p:ph type="body" sz="quarter" idx="21"/>
          </p:nvPr>
        </p:nvSpPr>
        <p:spPr/>
        <p:txBody>
          <a:bodyPr/>
          <a:lstStyle/>
          <a:p>
            <a:r>
              <a:rPr lang="de-DE" altLang="de-DE"/>
              <a:t>Die bAV bietet Ihnen mehr als solide Versorgungsmöglichkeiten.</a:t>
            </a:r>
            <a:endParaRPr lang="de-DE" altLang="de-DE" dirty="0"/>
          </a:p>
        </p:txBody>
      </p:sp>
      <p:sp>
        <p:nvSpPr>
          <p:cNvPr id="18" name="Textplatzhalter 17"/>
          <p:cNvSpPr>
            <a:spLocks noGrp="1"/>
          </p:cNvSpPr>
          <p:nvPr>
            <p:ph type="body" sz="quarter" idx="23"/>
          </p:nvPr>
        </p:nvSpPr>
        <p:spPr/>
        <p:txBody>
          <a:bodyPr/>
          <a:lstStyle/>
          <a:p>
            <a:endParaRPr lang="de-DE"/>
          </a:p>
        </p:txBody>
      </p:sp>
      <p:sp>
        <p:nvSpPr>
          <p:cNvPr id="19" name="Textplatzhalter 18"/>
          <p:cNvSpPr>
            <a:spLocks noGrp="1"/>
          </p:cNvSpPr>
          <p:nvPr>
            <p:ph type="body" sz="quarter" idx="24"/>
          </p:nvPr>
        </p:nvSpPr>
        <p:spPr/>
        <p:txBody>
          <a:bodyPr/>
          <a:lstStyle/>
          <a:p>
            <a:r>
              <a:rPr lang="de-DE" dirty="0"/>
              <a:t>Setzen Sie Ihre Arbeitskraft gegen das Risiko der Altersarmut ein – </a:t>
            </a:r>
            <a:br>
              <a:rPr lang="de-DE" dirty="0"/>
            </a:br>
            <a:r>
              <a:rPr lang="de-DE" dirty="0"/>
              <a:t>und nutzen Sie die Vorteile der betrieblichen Altersversorgung für Minijobber.</a:t>
            </a:r>
          </a:p>
        </p:txBody>
      </p:sp>
      <p:sp>
        <p:nvSpPr>
          <p:cNvPr id="7" name="Textplatzhalter 6"/>
          <p:cNvSpPr>
            <a:spLocks noGrp="1"/>
          </p:cNvSpPr>
          <p:nvPr>
            <p:ph type="body" sz="quarter" idx="18"/>
          </p:nvPr>
        </p:nvSpPr>
        <p:spPr/>
        <p:txBody>
          <a:bodyPr/>
          <a:lstStyle/>
          <a:p>
            <a:r>
              <a:rPr lang="de-DE" altLang="de-DE"/>
              <a:t>3. Besondere bAV-Möglichkeiten für Minijobber</a:t>
            </a:r>
            <a:endParaRPr lang="de-DE" altLang="de-DE" dirty="0"/>
          </a:p>
        </p:txBody>
      </p:sp>
      <p:sp>
        <p:nvSpPr>
          <p:cNvPr id="8" name="Datumsplatzhalter 7"/>
          <p:cNvSpPr>
            <a:spLocks noGrp="1"/>
          </p:cNvSpPr>
          <p:nvPr>
            <p:ph type="dt" sz="half" idx="25"/>
          </p:nvPr>
        </p:nvSpPr>
        <p:spPr/>
        <p:txBody>
          <a:bodyPr/>
          <a:lstStyle/>
          <a:p>
            <a:r>
              <a:rPr lang="de-DE"/>
              <a:t>01.01.2020</a:t>
            </a:r>
            <a:endParaRPr lang="de-DE" dirty="0"/>
          </a:p>
        </p:txBody>
      </p:sp>
      <p:sp>
        <p:nvSpPr>
          <p:cNvPr id="9" name="Fußzeilenplatzhalter 8"/>
          <p:cNvSpPr>
            <a:spLocks noGrp="1"/>
          </p:cNvSpPr>
          <p:nvPr>
            <p:ph type="ftr" sz="quarter" idx="26"/>
          </p:nvPr>
        </p:nvSpPr>
        <p:spPr/>
        <p:txBody>
          <a:bodyPr/>
          <a:lstStyle/>
          <a:p>
            <a:r>
              <a:rPr lang="de-DE"/>
              <a:t>Präsentation für Arbeitnehmer</a:t>
            </a:r>
            <a:endParaRPr lang="de-DE" dirty="0"/>
          </a:p>
        </p:txBody>
      </p:sp>
      <p:sp>
        <p:nvSpPr>
          <p:cNvPr id="10" name="Foliennummernplatzhalter 9"/>
          <p:cNvSpPr>
            <a:spLocks noGrp="1"/>
          </p:cNvSpPr>
          <p:nvPr>
            <p:ph type="sldNum" sz="quarter" idx="27"/>
          </p:nvPr>
        </p:nvSpPr>
        <p:spPr/>
        <p:txBody>
          <a:bodyPr/>
          <a:lstStyle/>
          <a:p>
            <a:fld id="{BFE8ADF1-837C-463F-9856-54C2D771B21B}" type="slidenum">
              <a:rPr lang="de-DE" smtClean="0"/>
              <a:pPr/>
              <a:t>14</a:t>
            </a:fld>
            <a:endParaRPr lang="de-DE" dirty="0"/>
          </a:p>
        </p:txBody>
      </p:sp>
    </p:spTree>
    <p:extLst>
      <p:ext uri="{BB962C8B-B14F-4D97-AF65-F5344CB8AC3E}">
        <p14:creationId xmlns:p14="http://schemas.microsoft.com/office/powerpoint/2010/main" val="355424923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812732"/>
            <a:ext cx="9144000" cy="6045268"/>
          </a:xfrm>
          <a:prstGeom prst="rect">
            <a:avLst/>
          </a:prstGeom>
        </p:spPr>
      </p:pic>
      <p:sp>
        <p:nvSpPr>
          <p:cNvPr id="6" name="Abgerundetes Rechteck 24"/>
          <p:cNvSpPr/>
          <p:nvPr/>
        </p:nvSpPr>
        <p:spPr>
          <a:xfrm>
            <a:off x="647095" y="4840181"/>
            <a:ext cx="415347" cy="409710"/>
          </a:xfrm>
          <a:custGeom>
            <a:avLst/>
            <a:gdLst>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415087 w 415087"/>
              <a:gd name="connsiteY2" fmla="*/ 112132 h 414000"/>
              <a:gd name="connsiteX3" fmla="*/ 415087 w 415087"/>
              <a:gd name="connsiteY3" fmla="*/ 301868 h 414000"/>
              <a:gd name="connsiteX4" fmla="*/ 302955 w 415087"/>
              <a:gd name="connsiteY4" fmla="*/ 414000 h 414000"/>
              <a:gd name="connsiteX5" fmla="*/ 112132 w 415087"/>
              <a:gd name="connsiteY5" fmla="*/ 414000 h 414000"/>
              <a:gd name="connsiteX6" fmla="*/ 0 w 415087"/>
              <a:gd name="connsiteY6" fmla="*/ 301868 h 414000"/>
              <a:gd name="connsiteX7" fmla="*/ 0 w 415087"/>
              <a:gd name="connsiteY7" fmla="*/ 112132 h 414000"/>
              <a:gd name="connsiteX0" fmla="*/ 0 w 417243"/>
              <a:gd name="connsiteY0" fmla="*/ 112132 h 414000"/>
              <a:gd name="connsiteX1" fmla="*/ 112132 w 417243"/>
              <a:gd name="connsiteY1" fmla="*/ 0 h 414000"/>
              <a:gd name="connsiteX2" fmla="*/ 417243 w 417243"/>
              <a:gd name="connsiteY2" fmla="*/ 4301 h 414000"/>
              <a:gd name="connsiteX3" fmla="*/ 415087 w 417243"/>
              <a:gd name="connsiteY3" fmla="*/ 301868 h 414000"/>
              <a:gd name="connsiteX4" fmla="*/ 302955 w 417243"/>
              <a:gd name="connsiteY4" fmla="*/ 414000 h 414000"/>
              <a:gd name="connsiteX5" fmla="*/ 112132 w 417243"/>
              <a:gd name="connsiteY5" fmla="*/ 414000 h 414000"/>
              <a:gd name="connsiteX6" fmla="*/ 0 w 417243"/>
              <a:gd name="connsiteY6" fmla="*/ 301868 h 414000"/>
              <a:gd name="connsiteX7" fmla="*/ 0 w 417243"/>
              <a:gd name="connsiteY7" fmla="*/ 112132 h 414000"/>
              <a:gd name="connsiteX0" fmla="*/ 0 w 419399"/>
              <a:gd name="connsiteY0" fmla="*/ 112132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7" fmla="*/ 0 w 419399"/>
              <a:gd name="connsiteY7" fmla="*/ 112132 h 414000"/>
              <a:gd name="connsiteX0" fmla="*/ 0 w 419399"/>
              <a:gd name="connsiteY0" fmla="*/ 112135 h 414003"/>
              <a:gd name="connsiteX1" fmla="*/ 112132 w 419399"/>
              <a:gd name="connsiteY1" fmla="*/ 3 h 414003"/>
              <a:gd name="connsiteX2" fmla="*/ 419399 w 419399"/>
              <a:gd name="connsiteY2" fmla="*/ 2147 h 414003"/>
              <a:gd name="connsiteX3" fmla="*/ 415087 w 419399"/>
              <a:gd name="connsiteY3" fmla="*/ 301871 h 414003"/>
              <a:gd name="connsiteX4" fmla="*/ 302955 w 419399"/>
              <a:gd name="connsiteY4" fmla="*/ 414003 h 414003"/>
              <a:gd name="connsiteX5" fmla="*/ 112132 w 419399"/>
              <a:gd name="connsiteY5" fmla="*/ 414003 h 414003"/>
              <a:gd name="connsiteX6" fmla="*/ 0 w 419399"/>
              <a:gd name="connsiteY6" fmla="*/ 301871 h 414003"/>
              <a:gd name="connsiteX7" fmla="*/ 0 w 419399"/>
              <a:gd name="connsiteY7" fmla="*/ 112135 h 414003"/>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44516"/>
              <a:gd name="connsiteX1" fmla="*/ 112132 w 419399"/>
              <a:gd name="connsiteY1" fmla="*/ 0 h 444516"/>
              <a:gd name="connsiteX2" fmla="*/ 419399 w 419399"/>
              <a:gd name="connsiteY2" fmla="*/ 2144 h 444516"/>
              <a:gd name="connsiteX3" fmla="*/ 415087 w 419399"/>
              <a:gd name="connsiteY3" fmla="*/ 414011 h 444516"/>
              <a:gd name="connsiteX4" fmla="*/ 112132 w 419399"/>
              <a:gd name="connsiteY4" fmla="*/ 414000 h 444516"/>
              <a:gd name="connsiteX5" fmla="*/ 0 w 419399"/>
              <a:gd name="connsiteY5" fmla="*/ 301868 h 444516"/>
              <a:gd name="connsiteX0" fmla="*/ 0 w 419399"/>
              <a:gd name="connsiteY0" fmla="*/ 301868 h 414011"/>
              <a:gd name="connsiteX1" fmla="*/ 112132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4325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299724 h 411867"/>
              <a:gd name="connsiteX1" fmla="*/ 2146 w 419399"/>
              <a:gd name="connsiteY1" fmla="*/ 2169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301868 h 414011"/>
              <a:gd name="connsiteX1" fmla="*/ 2146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2170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5347"/>
              <a:gd name="connsiteY0" fmla="*/ 297567 h 409710"/>
              <a:gd name="connsiteX1" fmla="*/ 2146 w 415347"/>
              <a:gd name="connsiteY1" fmla="*/ 13 h 409710"/>
              <a:gd name="connsiteX2" fmla="*/ 412929 w 415347"/>
              <a:gd name="connsiteY2" fmla="*/ 0 h 409710"/>
              <a:gd name="connsiteX3" fmla="*/ 415087 w 415347"/>
              <a:gd name="connsiteY3" fmla="*/ 409710 h 409710"/>
              <a:gd name="connsiteX4" fmla="*/ 112132 w 415347"/>
              <a:gd name="connsiteY4" fmla="*/ 409699 h 409710"/>
              <a:gd name="connsiteX5" fmla="*/ 0 w 415347"/>
              <a:gd name="connsiteY5" fmla="*/ 297567 h 40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347" h="409710">
                <a:moveTo>
                  <a:pt x="0" y="297567"/>
                </a:moveTo>
                <a:cubicBezTo>
                  <a:pt x="715" y="199101"/>
                  <a:pt x="1431" y="98479"/>
                  <a:pt x="2146" y="13"/>
                </a:cubicBezTo>
                <a:lnTo>
                  <a:pt x="412929" y="0"/>
                </a:lnTo>
                <a:cubicBezTo>
                  <a:pt x="411492" y="137289"/>
                  <a:pt x="416524" y="272421"/>
                  <a:pt x="415087" y="409710"/>
                </a:cubicBezTo>
                <a:lnTo>
                  <a:pt x="112132" y="409699"/>
                </a:lnTo>
                <a:cubicBezTo>
                  <a:pt x="50203" y="409699"/>
                  <a:pt x="0" y="359496"/>
                  <a:pt x="0" y="297567"/>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de-DE" b="1" dirty="0"/>
          </a:p>
        </p:txBody>
      </p:sp>
      <p:sp>
        <p:nvSpPr>
          <p:cNvPr id="2" name="Textplatzhalter 1"/>
          <p:cNvSpPr>
            <a:spLocks noGrp="1"/>
          </p:cNvSpPr>
          <p:nvPr>
            <p:ph type="body" sz="quarter" idx="10"/>
          </p:nvPr>
        </p:nvSpPr>
        <p:spPr/>
        <p:txBody>
          <a:bodyPr/>
          <a:lstStyle/>
          <a:p>
            <a:r>
              <a:rPr lang="de-DE" dirty="0"/>
              <a:t>4.</a:t>
            </a:r>
          </a:p>
        </p:txBody>
      </p:sp>
      <p:sp>
        <p:nvSpPr>
          <p:cNvPr id="5" name="Abgerundetes Rechteck 18"/>
          <p:cNvSpPr/>
          <p:nvPr/>
        </p:nvSpPr>
        <p:spPr>
          <a:xfrm>
            <a:off x="1099867" y="4840181"/>
            <a:ext cx="6925196" cy="1197499"/>
          </a:xfrm>
          <a:custGeom>
            <a:avLst/>
            <a:gdLst>
              <a:gd name="connsiteX0" fmla="*/ 0 w 6925196"/>
              <a:gd name="connsiteY0" fmla="*/ 199587 h 1197499"/>
              <a:gd name="connsiteX1" fmla="*/ 199587 w 6925196"/>
              <a:gd name="connsiteY1" fmla="*/ 0 h 1197499"/>
              <a:gd name="connsiteX2" fmla="*/ 6725609 w 6925196"/>
              <a:gd name="connsiteY2" fmla="*/ 0 h 1197499"/>
              <a:gd name="connsiteX3" fmla="*/ 6925196 w 6925196"/>
              <a:gd name="connsiteY3" fmla="*/ 199587 h 1197499"/>
              <a:gd name="connsiteX4" fmla="*/ 6925196 w 6925196"/>
              <a:gd name="connsiteY4" fmla="*/ 997912 h 1197499"/>
              <a:gd name="connsiteX5" fmla="*/ 6725609 w 6925196"/>
              <a:gd name="connsiteY5" fmla="*/ 1197499 h 1197499"/>
              <a:gd name="connsiteX6" fmla="*/ 199587 w 6925196"/>
              <a:gd name="connsiteY6" fmla="*/ 1197499 h 1197499"/>
              <a:gd name="connsiteX7" fmla="*/ 0 w 6925196"/>
              <a:gd name="connsiteY7" fmla="*/ 997912 h 1197499"/>
              <a:gd name="connsiteX8" fmla="*/ 0 w 6925196"/>
              <a:gd name="connsiteY8" fmla="*/ 199587 h 1197499"/>
              <a:gd name="connsiteX0" fmla="*/ 0 w 6925196"/>
              <a:gd name="connsiteY0" fmla="*/ 997912 h 1197499"/>
              <a:gd name="connsiteX1" fmla="*/ 199587 w 6925196"/>
              <a:gd name="connsiteY1" fmla="*/ 0 h 1197499"/>
              <a:gd name="connsiteX2" fmla="*/ 6725609 w 6925196"/>
              <a:gd name="connsiteY2" fmla="*/ 0 h 1197499"/>
              <a:gd name="connsiteX3" fmla="*/ 6925196 w 6925196"/>
              <a:gd name="connsiteY3" fmla="*/ 199587 h 1197499"/>
              <a:gd name="connsiteX4" fmla="*/ 6925196 w 6925196"/>
              <a:gd name="connsiteY4" fmla="*/ 997912 h 1197499"/>
              <a:gd name="connsiteX5" fmla="*/ 6725609 w 6925196"/>
              <a:gd name="connsiteY5" fmla="*/ 1197499 h 1197499"/>
              <a:gd name="connsiteX6" fmla="*/ 199587 w 6925196"/>
              <a:gd name="connsiteY6" fmla="*/ 1197499 h 1197499"/>
              <a:gd name="connsiteX7" fmla="*/ 0 w 6925196"/>
              <a:gd name="connsiteY7" fmla="*/ 997912 h 1197499"/>
              <a:gd name="connsiteX0" fmla="*/ 0 w 6925196"/>
              <a:gd name="connsiteY0" fmla="*/ 997912 h 1197499"/>
              <a:gd name="connsiteX1" fmla="*/ 1179 w 6925196"/>
              <a:gd name="connsiteY1" fmla="*/ 0 h 1197499"/>
              <a:gd name="connsiteX2" fmla="*/ 6725609 w 6925196"/>
              <a:gd name="connsiteY2" fmla="*/ 0 h 1197499"/>
              <a:gd name="connsiteX3" fmla="*/ 6925196 w 6925196"/>
              <a:gd name="connsiteY3" fmla="*/ 199587 h 1197499"/>
              <a:gd name="connsiteX4" fmla="*/ 6925196 w 6925196"/>
              <a:gd name="connsiteY4" fmla="*/ 997912 h 1197499"/>
              <a:gd name="connsiteX5" fmla="*/ 6725609 w 6925196"/>
              <a:gd name="connsiteY5" fmla="*/ 1197499 h 1197499"/>
              <a:gd name="connsiteX6" fmla="*/ 199587 w 6925196"/>
              <a:gd name="connsiteY6" fmla="*/ 1197499 h 1197499"/>
              <a:gd name="connsiteX7" fmla="*/ 0 w 6925196"/>
              <a:gd name="connsiteY7" fmla="*/ 997912 h 1197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25196" h="1197499">
                <a:moveTo>
                  <a:pt x="0" y="997912"/>
                </a:moveTo>
                <a:lnTo>
                  <a:pt x="1179" y="0"/>
                </a:lnTo>
                <a:lnTo>
                  <a:pt x="6725609" y="0"/>
                </a:lnTo>
                <a:cubicBezTo>
                  <a:pt x="6835838" y="0"/>
                  <a:pt x="6925196" y="89358"/>
                  <a:pt x="6925196" y="199587"/>
                </a:cubicBezTo>
                <a:lnTo>
                  <a:pt x="6925196" y="997912"/>
                </a:lnTo>
                <a:cubicBezTo>
                  <a:pt x="6925196" y="1108141"/>
                  <a:pt x="6835838" y="1197499"/>
                  <a:pt x="6725609" y="1197499"/>
                </a:cubicBezTo>
                <a:lnTo>
                  <a:pt x="199587" y="1197499"/>
                </a:lnTo>
                <a:cubicBezTo>
                  <a:pt x="89358" y="1197499"/>
                  <a:pt x="0" y="1108141"/>
                  <a:pt x="0" y="997912"/>
                </a:cubicBezTo>
                <a:close/>
              </a:path>
            </a:pathLst>
          </a:custGeom>
          <a:solidFill>
            <a:schemeClr val="bg1">
              <a:alpha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Titel 2"/>
          <p:cNvSpPr>
            <a:spLocks noGrp="1"/>
          </p:cNvSpPr>
          <p:nvPr>
            <p:ph type="title"/>
          </p:nvPr>
        </p:nvSpPr>
        <p:spPr/>
        <p:txBody>
          <a:bodyPr/>
          <a:lstStyle/>
          <a:p>
            <a:r>
              <a:rPr lang="de-DE" altLang="de-DE" dirty="0"/>
              <a:t>Schutz im Fall von Arbeitslosigkeit und Insolvenz</a:t>
            </a:r>
            <a:endParaRPr lang="de-DE" dirty="0"/>
          </a:p>
        </p:txBody>
      </p:sp>
    </p:spTree>
    <p:extLst>
      <p:ext uri="{BB962C8B-B14F-4D97-AF65-F5344CB8AC3E}">
        <p14:creationId xmlns:p14="http://schemas.microsoft.com/office/powerpoint/2010/main" val="184242791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dirty="0"/>
              <a:t>Fit für den Wandel – speziell für Frauen.</a:t>
            </a:r>
            <a:br>
              <a:rPr lang="de-DE" altLang="de-DE" dirty="0"/>
            </a:br>
            <a:r>
              <a:rPr lang="de-DE" altLang="de-DE" dirty="0"/>
              <a:t>Auch kleine Veränderungen macht Ihre bAV mit</a:t>
            </a:r>
            <a:endParaRPr lang="de-DE" dirty="0"/>
          </a:p>
        </p:txBody>
      </p:sp>
      <p:sp>
        <p:nvSpPr>
          <p:cNvPr id="3" name="Textplatzhalter 2"/>
          <p:cNvSpPr>
            <a:spLocks noGrp="1"/>
          </p:cNvSpPr>
          <p:nvPr>
            <p:ph type="body" sz="quarter" idx="17"/>
          </p:nvPr>
        </p:nvSpPr>
        <p:spPr>
          <a:xfrm>
            <a:off x="358775" y="2087563"/>
            <a:ext cx="8426450" cy="523220"/>
          </a:xfrm>
        </p:spPr>
        <p:txBody>
          <a:bodyPr/>
          <a:lstStyle/>
          <a:p>
            <a:r>
              <a:rPr lang="de-DE" altLang="de-DE" dirty="0"/>
              <a:t>Ihre betriebliche Altersversorgung (Direktversicherung) bleibt sicher – egal, </a:t>
            </a:r>
            <a:br>
              <a:rPr lang="de-DE" altLang="de-DE" dirty="0"/>
            </a:br>
            <a:r>
              <a:rPr lang="de-DE" altLang="de-DE" dirty="0"/>
              <a:t>was die Zukunft bringt.</a:t>
            </a:r>
          </a:p>
        </p:txBody>
      </p:sp>
      <p:sp>
        <p:nvSpPr>
          <p:cNvPr id="4" name="Textplatzhalter 3"/>
          <p:cNvSpPr>
            <a:spLocks noGrp="1"/>
          </p:cNvSpPr>
          <p:nvPr>
            <p:ph type="body" sz="quarter" idx="19"/>
          </p:nvPr>
        </p:nvSpPr>
        <p:spPr>
          <a:xfrm>
            <a:off x="358775" y="2736806"/>
            <a:ext cx="8280258" cy="3104438"/>
          </a:xfrm>
        </p:spPr>
        <p:txBody>
          <a:bodyPr/>
          <a:lstStyle/>
          <a:p>
            <a:pPr marL="233363" lvl="1" indent="-233363"/>
            <a:r>
              <a:rPr lang="de-DE" altLang="de-DE" dirty="0"/>
              <a:t>Beitragsunterbrechung bei Elternzeit möglich (Flexibilität).</a:t>
            </a:r>
          </a:p>
          <a:p>
            <a:pPr marL="233363" lvl="1" indent="-233363"/>
            <a:r>
              <a:rPr lang="de-DE" altLang="de-DE" dirty="0"/>
              <a:t>Beitragsreduzierungen möglich (Mindestbeiträge sind zu beachten).</a:t>
            </a:r>
          </a:p>
          <a:p>
            <a:pPr marL="233363" lvl="1" indent="-233363"/>
            <a:r>
              <a:rPr lang="de-DE" altLang="de-DE" dirty="0"/>
              <a:t>Bereits mit geringen monatlichen Beiträgen möglich (z.B. 25,00 €/Monat).</a:t>
            </a:r>
          </a:p>
          <a:p>
            <a:pPr marL="233363" lvl="1" indent="-233363"/>
            <a:r>
              <a:rPr lang="de-DE" altLang="de-DE" dirty="0"/>
              <a:t>Eine Fortsetzung der betrieblichen Altersversorgung ist grundsätzlich auch bei einem neuen Arbeitgeber möglich.</a:t>
            </a:r>
          </a:p>
          <a:p>
            <a:pPr marL="233363" lvl="1" indent="-233363"/>
            <a:r>
              <a:rPr lang="de-DE" altLang="de-DE" dirty="0"/>
              <a:t>Die betriebliche Altersversorgung funktioniert in Teil- und Vollzeit. Auch ein Statuswechsel ist möglich.</a:t>
            </a:r>
          </a:p>
        </p:txBody>
      </p:sp>
      <p:sp>
        <p:nvSpPr>
          <p:cNvPr id="5" name="Textplatzhalter 4"/>
          <p:cNvSpPr>
            <a:spLocks noGrp="1"/>
          </p:cNvSpPr>
          <p:nvPr>
            <p:ph type="body" sz="quarter" idx="18"/>
          </p:nvPr>
        </p:nvSpPr>
        <p:spPr/>
        <p:txBody>
          <a:bodyPr/>
          <a:lstStyle/>
          <a:p>
            <a:r>
              <a:rPr lang="de-DE" altLang="de-DE" dirty="0"/>
              <a:t>4. Schutz im Fall von Arbeitslosigkeit und Insolvenz</a:t>
            </a:r>
          </a:p>
        </p:txBody>
      </p:sp>
      <p:sp>
        <p:nvSpPr>
          <p:cNvPr id="6" name="Datumsplatzhalter 5"/>
          <p:cNvSpPr>
            <a:spLocks noGrp="1"/>
          </p:cNvSpPr>
          <p:nvPr>
            <p:ph type="dt" sz="half" idx="20"/>
          </p:nvPr>
        </p:nvSpPr>
        <p:spPr/>
        <p:txBody>
          <a:bodyPr/>
          <a:lstStyle/>
          <a:p>
            <a:r>
              <a:rPr lang="de-DE"/>
              <a:t>01.01.2020</a:t>
            </a:r>
            <a:endParaRPr lang="de-DE" dirty="0"/>
          </a:p>
        </p:txBody>
      </p:sp>
      <p:sp>
        <p:nvSpPr>
          <p:cNvPr id="7" name="Fußzeilenplatzhalter 6"/>
          <p:cNvSpPr>
            <a:spLocks noGrp="1"/>
          </p:cNvSpPr>
          <p:nvPr>
            <p:ph type="ftr" sz="quarter" idx="21"/>
          </p:nvPr>
        </p:nvSpPr>
        <p:spPr/>
        <p:txBody>
          <a:bodyPr/>
          <a:lstStyle/>
          <a:p>
            <a:r>
              <a:rPr lang="de-DE"/>
              <a:t>Präsentation für Arbeitnehmer</a:t>
            </a:r>
            <a:endParaRPr lang="de-DE" dirty="0"/>
          </a:p>
        </p:txBody>
      </p:sp>
      <p:sp>
        <p:nvSpPr>
          <p:cNvPr id="8" name="Foliennummernplatzhalter 7"/>
          <p:cNvSpPr>
            <a:spLocks noGrp="1"/>
          </p:cNvSpPr>
          <p:nvPr>
            <p:ph type="sldNum" sz="quarter" idx="22"/>
          </p:nvPr>
        </p:nvSpPr>
        <p:spPr/>
        <p:txBody>
          <a:bodyPr/>
          <a:lstStyle/>
          <a:p>
            <a:fld id="{BFE8ADF1-837C-463F-9856-54C2D771B21B}" type="slidenum">
              <a:rPr lang="de-DE" smtClean="0"/>
              <a:pPr/>
              <a:t>16</a:t>
            </a:fld>
            <a:endParaRPr lang="de-DE" dirty="0"/>
          </a:p>
        </p:txBody>
      </p:sp>
      <p:sp>
        <p:nvSpPr>
          <p:cNvPr id="9" name="Textplatzhalter 8"/>
          <p:cNvSpPr>
            <a:spLocks noGrp="1"/>
          </p:cNvSpPr>
          <p:nvPr>
            <p:ph type="body" sz="quarter" idx="23"/>
          </p:nvPr>
        </p:nvSpPr>
        <p:spPr/>
        <p:txBody>
          <a:bodyPr/>
          <a:lstStyle/>
          <a:p>
            <a:endParaRPr lang="de-DE"/>
          </a:p>
        </p:txBody>
      </p:sp>
    </p:spTree>
    <p:extLst>
      <p:ext uri="{BB962C8B-B14F-4D97-AF65-F5344CB8AC3E}">
        <p14:creationId xmlns:p14="http://schemas.microsoft.com/office/powerpoint/2010/main" val="161894466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sz="2500" dirty="0"/>
              <a:t>Ihre Direktversicherung ist durch das Gesetz geschützt</a:t>
            </a:r>
            <a:endParaRPr lang="de-DE" sz="2500" dirty="0"/>
          </a:p>
        </p:txBody>
      </p:sp>
      <p:sp>
        <p:nvSpPr>
          <p:cNvPr id="3" name="Textplatzhalter 2"/>
          <p:cNvSpPr>
            <a:spLocks noGrp="1"/>
          </p:cNvSpPr>
          <p:nvPr>
            <p:ph type="body" sz="quarter" idx="17"/>
          </p:nvPr>
        </p:nvSpPr>
        <p:spPr/>
        <p:txBody>
          <a:bodyPr/>
          <a:lstStyle/>
          <a:p>
            <a:r>
              <a:rPr lang="de-DE" altLang="de-DE"/>
              <a:t>Ihre Direktversicherung ist durch das Betriebsrentengesetz (BetrAVG) geschützt.</a:t>
            </a:r>
            <a:endParaRPr lang="de-DE" altLang="de-DE" dirty="0"/>
          </a:p>
        </p:txBody>
      </p:sp>
      <p:sp>
        <p:nvSpPr>
          <p:cNvPr id="4" name="Textplatzhalter 3"/>
          <p:cNvSpPr>
            <a:spLocks noGrp="1"/>
          </p:cNvSpPr>
          <p:nvPr>
            <p:ph type="body" sz="quarter" idx="19"/>
          </p:nvPr>
        </p:nvSpPr>
        <p:spPr>
          <a:xfrm>
            <a:off x="358775" y="2600325"/>
            <a:ext cx="8321201" cy="3600449"/>
          </a:xfrm>
        </p:spPr>
        <p:txBody>
          <a:bodyPr/>
          <a:lstStyle/>
          <a:p>
            <a:pPr lvl="1"/>
            <a:r>
              <a:rPr lang="de-DE" altLang="de-DE" dirty="0"/>
              <a:t>Altersleistungen dürfen ab Vollendung des 62. Lebensjahres in Anspruch genommen werden.</a:t>
            </a:r>
          </a:p>
          <a:p>
            <a:pPr lvl="1"/>
            <a:r>
              <a:rPr lang="de-DE" altLang="de-DE" dirty="0"/>
              <a:t>Keine Verwendung der betrieblichen Altersversorgung für andere Zwecke (Abtretung, Pfändung, Beleihung…).</a:t>
            </a:r>
          </a:p>
          <a:p>
            <a:pPr lvl="1"/>
            <a:r>
              <a:rPr lang="de-DE" altLang="de-DE" dirty="0"/>
              <a:t>Keine Verwertung der durch den Arbeitgeber angesparten Altersversorgung im </a:t>
            </a:r>
            <a:br>
              <a:rPr lang="de-DE" altLang="de-DE" dirty="0"/>
            </a:br>
            <a:r>
              <a:rPr lang="de-DE" altLang="de-DE" dirty="0"/>
              <a:t>Hartz-IV-Fall.</a:t>
            </a:r>
          </a:p>
          <a:p>
            <a:pPr lvl="1"/>
            <a:r>
              <a:rPr lang="de-DE" altLang="de-DE" dirty="0"/>
              <a:t>Die Direktversicherung durch Entgeltverzicht „gehört“ Ihnen (sofortige Unverfallbarkeit).</a:t>
            </a:r>
          </a:p>
          <a:p>
            <a:pPr lvl="1"/>
            <a:r>
              <a:rPr lang="de-DE" altLang="de-DE" dirty="0"/>
              <a:t>Bei Arbeitgeberwechsel ist die Übertragung auf einen neuen Arbeitgeber (Übernahme des Übertragungswertes) gesetzlich geregelt.</a:t>
            </a:r>
          </a:p>
        </p:txBody>
      </p:sp>
      <p:sp>
        <p:nvSpPr>
          <p:cNvPr id="5" name="Textplatzhalter 4"/>
          <p:cNvSpPr>
            <a:spLocks noGrp="1"/>
          </p:cNvSpPr>
          <p:nvPr>
            <p:ph type="body" sz="quarter" idx="18"/>
          </p:nvPr>
        </p:nvSpPr>
        <p:spPr/>
        <p:txBody>
          <a:bodyPr/>
          <a:lstStyle/>
          <a:p>
            <a:r>
              <a:rPr lang="de-DE" altLang="de-DE"/>
              <a:t>4. Schutz im Fall von Arbeitslosigkeit und Insolvenz</a:t>
            </a:r>
            <a:endParaRPr lang="de-DE" altLang="de-DE" dirty="0"/>
          </a:p>
        </p:txBody>
      </p:sp>
      <p:sp>
        <p:nvSpPr>
          <p:cNvPr id="6" name="Datumsplatzhalter 5"/>
          <p:cNvSpPr>
            <a:spLocks noGrp="1"/>
          </p:cNvSpPr>
          <p:nvPr>
            <p:ph type="dt" sz="half" idx="20"/>
          </p:nvPr>
        </p:nvSpPr>
        <p:spPr/>
        <p:txBody>
          <a:bodyPr/>
          <a:lstStyle/>
          <a:p>
            <a:r>
              <a:rPr lang="de-DE"/>
              <a:t>01.01.2020</a:t>
            </a:r>
            <a:endParaRPr lang="de-DE" dirty="0"/>
          </a:p>
        </p:txBody>
      </p:sp>
      <p:sp>
        <p:nvSpPr>
          <p:cNvPr id="7" name="Fußzeilenplatzhalter 6"/>
          <p:cNvSpPr>
            <a:spLocks noGrp="1"/>
          </p:cNvSpPr>
          <p:nvPr>
            <p:ph type="ftr" sz="quarter" idx="21"/>
          </p:nvPr>
        </p:nvSpPr>
        <p:spPr/>
        <p:txBody>
          <a:bodyPr/>
          <a:lstStyle/>
          <a:p>
            <a:r>
              <a:rPr lang="de-DE"/>
              <a:t>Präsentation für Arbeitnehmer</a:t>
            </a:r>
            <a:endParaRPr lang="de-DE" dirty="0"/>
          </a:p>
        </p:txBody>
      </p:sp>
      <p:sp>
        <p:nvSpPr>
          <p:cNvPr id="8" name="Foliennummernplatzhalter 7"/>
          <p:cNvSpPr>
            <a:spLocks noGrp="1"/>
          </p:cNvSpPr>
          <p:nvPr>
            <p:ph type="sldNum" sz="quarter" idx="22"/>
          </p:nvPr>
        </p:nvSpPr>
        <p:spPr/>
        <p:txBody>
          <a:bodyPr/>
          <a:lstStyle/>
          <a:p>
            <a:fld id="{BFE8ADF1-837C-463F-9856-54C2D771B21B}" type="slidenum">
              <a:rPr lang="de-DE" smtClean="0"/>
              <a:pPr/>
              <a:t>17</a:t>
            </a:fld>
            <a:endParaRPr lang="de-DE" dirty="0"/>
          </a:p>
        </p:txBody>
      </p:sp>
      <p:sp>
        <p:nvSpPr>
          <p:cNvPr id="17" name="Textplatzhalter 16"/>
          <p:cNvSpPr>
            <a:spLocks noGrp="1"/>
          </p:cNvSpPr>
          <p:nvPr>
            <p:ph type="body" sz="quarter" idx="23"/>
          </p:nvPr>
        </p:nvSpPr>
        <p:spPr/>
        <p:txBody>
          <a:bodyPr/>
          <a:lstStyle/>
          <a:p>
            <a:endParaRPr lang="de-DE"/>
          </a:p>
        </p:txBody>
      </p:sp>
    </p:spTree>
    <p:extLst>
      <p:ext uri="{BB962C8B-B14F-4D97-AF65-F5344CB8AC3E}">
        <p14:creationId xmlns:p14="http://schemas.microsoft.com/office/powerpoint/2010/main" val="359677392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a:t>Die Direktversicherung ergänzt die gesetzliche Rente</a:t>
            </a:r>
            <a:endParaRPr lang="de-DE" dirty="0"/>
          </a:p>
        </p:txBody>
      </p:sp>
      <p:sp>
        <p:nvSpPr>
          <p:cNvPr id="25" name="Textplatzhalter 24"/>
          <p:cNvSpPr>
            <a:spLocks noGrp="1"/>
          </p:cNvSpPr>
          <p:nvPr>
            <p:ph type="body" sz="quarter" idx="17"/>
          </p:nvPr>
        </p:nvSpPr>
        <p:spPr/>
        <p:txBody>
          <a:bodyPr/>
          <a:lstStyle/>
          <a:p>
            <a:endParaRPr lang="de-DE"/>
          </a:p>
        </p:txBody>
      </p:sp>
      <p:sp>
        <p:nvSpPr>
          <p:cNvPr id="4" name="Textplatzhalter 3"/>
          <p:cNvSpPr>
            <a:spLocks noGrp="1"/>
          </p:cNvSpPr>
          <p:nvPr>
            <p:ph type="body" sz="quarter" idx="19"/>
          </p:nvPr>
        </p:nvSpPr>
        <p:spPr>
          <a:xfrm>
            <a:off x="358775" y="2600325"/>
            <a:ext cx="8302625" cy="3600449"/>
          </a:xfrm>
        </p:spPr>
        <p:txBody>
          <a:bodyPr/>
          <a:lstStyle/>
          <a:p>
            <a:pPr lvl="1"/>
            <a:r>
              <a:rPr lang="de-DE" altLang="de-DE" dirty="0"/>
              <a:t>Von der gesetzlichen Rente müssen Sie gegebenenfalls Steuern und Sozialabgaben zahlen.</a:t>
            </a:r>
          </a:p>
          <a:p>
            <a:pPr lvl="1"/>
            <a:r>
              <a:rPr lang="de-DE" altLang="de-DE" dirty="0"/>
              <a:t>Dies gilt grundsätzlich auch für die Direktversicherung</a:t>
            </a:r>
            <a:r>
              <a:rPr lang="de-DE" altLang="de-DE" baseline="30000" dirty="0"/>
              <a:t>1</a:t>
            </a:r>
            <a:r>
              <a:rPr lang="de-DE" altLang="de-DE" dirty="0"/>
              <a:t>.</a:t>
            </a:r>
          </a:p>
          <a:p>
            <a:pPr lvl="1"/>
            <a:r>
              <a:rPr lang="de-DE" altLang="de-DE" dirty="0"/>
              <a:t>Gesetzliche Rente und Direktversicherung ermöglichen zusammen einen guten Lebensstandard.</a:t>
            </a:r>
          </a:p>
        </p:txBody>
      </p:sp>
      <p:sp>
        <p:nvSpPr>
          <p:cNvPr id="5" name="Textplatzhalter 4"/>
          <p:cNvSpPr>
            <a:spLocks noGrp="1"/>
          </p:cNvSpPr>
          <p:nvPr>
            <p:ph type="body" sz="quarter" idx="18"/>
          </p:nvPr>
        </p:nvSpPr>
        <p:spPr/>
        <p:txBody>
          <a:bodyPr/>
          <a:lstStyle/>
          <a:p>
            <a:r>
              <a:rPr lang="de-DE" altLang="de-DE"/>
              <a:t>4. Schutz im Fall von Arbeitslosigkeit und Insolvenz</a:t>
            </a:r>
            <a:endParaRPr lang="de-DE" altLang="de-DE" dirty="0"/>
          </a:p>
        </p:txBody>
      </p:sp>
      <p:sp>
        <p:nvSpPr>
          <p:cNvPr id="6" name="Datumsplatzhalter 5"/>
          <p:cNvSpPr>
            <a:spLocks noGrp="1"/>
          </p:cNvSpPr>
          <p:nvPr>
            <p:ph type="dt" sz="half" idx="20"/>
          </p:nvPr>
        </p:nvSpPr>
        <p:spPr/>
        <p:txBody>
          <a:bodyPr/>
          <a:lstStyle/>
          <a:p>
            <a:r>
              <a:rPr lang="de-DE"/>
              <a:t>01.01.2020</a:t>
            </a:r>
            <a:endParaRPr lang="de-DE" dirty="0"/>
          </a:p>
        </p:txBody>
      </p:sp>
      <p:sp>
        <p:nvSpPr>
          <p:cNvPr id="7" name="Fußzeilenplatzhalter 6"/>
          <p:cNvSpPr>
            <a:spLocks noGrp="1"/>
          </p:cNvSpPr>
          <p:nvPr>
            <p:ph type="ftr" sz="quarter" idx="21"/>
          </p:nvPr>
        </p:nvSpPr>
        <p:spPr/>
        <p:txBody>
          <a:bodyPr/>
          <a:lstStyle/>
          <a:p>
            <a:r>
              <a:rPr lang="de-DE"/>
              <a:t>Präsentation für Arbeitnehmer</a:t>
            </a:r>
            <a:endParaRPr lang="de-DE" dirty="0"/>
          </a:p>
        </p:txBody>
      </p:sp>
      <p:sp>
        <p:nvSpPr>
          <p:cNvPr id="8" name="Foliennummernplatzhalter 7"/>
          <p:cNvSpPr>
            <a:spLocks noGrp="1"/>
          </p:cNvSpPr>
          <p:nvPr>
            <p:ph type="sldNum" sz="quarter" idx="22"/>
          </p:nvPr>
        </p:nvSpPr>
        <p:spPr/>
        <p:txBody>
          <a:bodyPr/>
          <a:lstStyle/>
          <a:p>
            <a:fld id="{BFE8ADF1-837C-463F-9856-54C2D771B21B}" type="slidenum">
              <a:rPr lang="de-DE" smtClean="0"/>
              <a:pPr/>
              <a:t>18</a:t>
            </a:fld>
            <a:endParaRPr lang="de-DE" dirty="0"/>
          </a:p>
        </p:txBody>
      </p:sp>
      <p:sp>
        <p:nvSpPr>
          <p:cNvPr id="16" name="Textplatzhalter 15"/>
          <p:cNvSpPr>
            <a:spLocks noGrp="1"/>
          </p:cNvSpPr>
          <p:nvPr>
            <p:ph type="body" sz="quarter" idx="23"/>
          </p:nvPr>
        </p:nvSpPr>
        <p:spPr/>
        <p:txBody>
          <a:bodyPr/>
          <a:lstStyle/>
          <a:p>
            <a:pPr marL="57150" indent="-57150"/>
            <a:r>
              <a:rPr lang="de-DE" baseline="30000" dirty="0"/>
              <a:t>1</a:t>
            </a:r>
            <a:r>
              <a:rPr lang="de-DE" dirty="0"/>
              <a:t> Leistungen aus geförderten Beiträgen und Zuzahlungen sind nach § 22 Nr. 5 EStG in vollem Umfang einkommensteuerpflichtig. Für die Verbeitragung in der Sozialversicherung (Krankenversicherung der Rentner) während des Rentenbezuges gilt eine Freigrenze (§ 226 Abs. 2 SGB V) und darüber hinaus ein Freibetrag für Versorgungsbezüge der </a:t>
            </a:r>
            <a:r>
              <a:rPr lang="de-DE" dirty="0" err="1"/>
              <a:t>bAV</a:t>
            </a:r>
            <a:r>
              <a:rPr lang="de-DE" dirty="0"/>
              <a:t> (2020: 159,25 € p.m./ 19.110 € Kapitalleistung).</a:t>
            </a:r>
          </a:p>
        </p:txBody>
      </p:sp>
    </p:spTree>
    <p:extLst>
      <p:ext uri="{BB962C8B-B14F-4D97-AF65-F5344CB8AC3E}">
        <p14:creationId xmlns:p14="http://schemas.microsoft.com/office/powerpoint/2010/main" val="307497495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58775" y="1042814"/>
            <a:ext cx="8525918" cy="500137"/>
          </a:xfrm>
        </p:spPr>
        <p:txBody>
          <a:bodyPr/>
          <a:lstStyle/>
          <a:p>
            <a:r>
              <a:rPr lang="de-DE" altLang="de-DE" sz="2300" dirty="0"/>
              <a:t>Sichere Versorgung:</a:t>
            </a:r>
            <a:br>
              <a:rPr lang="de-DE" altLang="de-DE" sz="2300" dirty="0"/>
            </a:br>
            <a:r>
              <a:rPr lang="de-DE" altLang="de-DE" sz="2300" dirty="0"/>
              <a:t>Auch in Krisenzeiten ist Ihre bAV sicher (Direktversicherung)</a:t>
            </a:r>
            <a:endParaRPr lang="de-DE" sz="2300" dirty="0"/>
          </a:p>
        </p:txBody>
      </p:sp>
      <p:sp>
        <p:nvSpPr>
          <p:cNvPr id="5" name="Textplatzhalter 4"/>
          <p:cNvSpPr>
            <a:spLocks noGrp="1"/>
          </p:cNvSpPr>
          <p:nvPr>
            <p:ph type="body" sz="quarter" idx="18"/>
          </p:nvPr>
        </p:nvSpPr>
        <p:spPr/>
        <p:txBody>
          <a:bodyPr/>
          <a:lstStyle/>
          <a:p>
            <a:r>
              <a:rPr lang="de-DE" altLang="de-DE"/>
              <a:t>4. Schutz im Fall von Arbeitslosigkeit und Insolvenz</a:t>
            </a:r>
            <a:endParaRPr lang="de-DE" altLang="de-DE" dirty="0"/>
          </a:p>
        </p:txBody>
      </p:sp>
      <p:sp>
        <p:nvSpPr>
          <p:cNvPr id="6" name="Datumsplatzhalter 5"/>
          <p:cNvSpPr>
            <a:spLocks noGrp="1"/>
          </p:cNvSpPr>
          <p:nvPr>
            <p:ph type="dt" sz="half" idx="20"/>
          </p:nvPr>
        </p:nvSpPr>
        <p:spPr/>
        <p:txBody>
          <a:bodyPr/>
          <a:lstStyle/>
          <a:p>
            <a:r>
              <a:rPr lang="de-DE"/>
              <a:t>01.01.2020</a:t>
            </a:r>
            <a:endParaRPr lang="de-DE" dirty="0"/>
          </a:p>
        </p:txBody>
      </p:sp>
      <p:sp>
        <p:nvSpPr>
          <p:cNvPr id="7" name="Fußzeilenplatzhalter 6"/>
          <p:cNvSpPr>
            <a:spLocks noGrp="1"/>
          </p:cNvSpPr>
          <p:nvPr>
            <p:ph type="ftr" sz="quarter" idx="21"/>
          </p:nvPr>
        </p:nvSpPr>
        <p:spPr/>
        <p:txBody>
          <a:bodyPr/>
          <a:lstStyle/>
          <a:p>
            <a:r>
              <a:rPr lang="de-DE"/>
              <a:t>Präsentation für Arbeitnehmer</a:t>
            </a:r>
            <a:endParaRPr lang="de-DE" dirty="0"/>
          </a:p>
        </p:txBody>
      </p:sp>
      <p:sp>
        <p:nvSpPr>
          <p:cNvPr id="8" name="Foliennummernplatzhalter 7"/>
          <p:cNvSpPr>
            <a:spLocks noGrp="1"/>
          </p:cNvSpPr>
          <p:nvPr>
            <p:ph type="sldNum" sz="quarter" idx="22"/>
          </p:nvPr>
        </p:nvSpPr>
        <p:spPr/>
        <p:txBody>
          <a:bodyPr/>
          <a:lstStyle/>
          <a:p>
            <a:fld id="{BFE8ADF1-837C-463F-9856-54C2D771B21B}" type="slidenum">
              <a:rPr lang="de-DE" smtClean="0"/>
              <a:pPr/>
              <a:t>19</a:t>
            </a:fld>
            <a:endParaRPr lang="de-DE" dirty="0"/>
          </a:p>
        </p:txBody>
      </p:sp>
      <p:sp>
        <p:nvSpPr>
          <p:cNvPr id="26" name="Textplatzhalter 25"/>
          <p:cNvSpPr>
            <a:spLocks noGrp="1"/>
          </p:cNvSpPr>
          <p:nvPr>
            <p:ph type="body" sz="quarter" idx="23"/>
          </p:nvPr>
        </p:nvSpPr>
        <p:spPr/>
        <p:txBody>
          <a:bodyPr/>
          <a:lstStyle/>
          <a:p>
            <a:endParaRPr lang="de-DE"/>
          </a:p>
        </p:txBody>
      </p:sp>
      <p:sp>
        <p:nvSpPr>
          <p:cNvPr id="3" name="Textplatzhalter 2"/>
          <p:cNvSpPr>
            <a:spLocks noGrp="1"/>
          </p:cNvSpPr>
          <p:nvPr>
            <p:ph type="body" sz="quarter" idx="19"/>
          </p:nvPr>
        </p:nvSpPr>
        <p:spPr>
          <a:xfrm>
            <a:off x="358775" y="2082801"/>
            <a:ext cx="8426450" cy="4117974"/>
          </a:xfrm>
        </p:spPr>
        <p:txBody>
          <a:bodyPr>
            <a:normAutofit fontScale="92500" lnSpcReduction="20000"/>
          </a:bodyPr>
          <a:lstStyle/>
          <a:p>
            <a:pPr lvl="1"/>
            <a:r>
              <a:rPr lang="de-DE" altLang="de-DE" b="1" dirty="0"/>
              <a:t>Insolvenz des Arbeitgebers:</a:t>
            </a:r>
            <a:r>
              <a:rPr lang="de-DE" altLang="de-DE" dirty="0"/>
              <a:t> Sie haben von Anfang an unwiderrufliche Ansprüche (Entgeltumwandlung).</a:t>
            </a:r>
          </a:p>
          <a:p>
            <a:pPr lvl="1"/>
            <a:r>
              <a:rPr lang="de-DE" altLang="de-DE" b="1" dirty="0"/>
              <a:t>Insolvenz des Versicherers:</a:t>
            </a:r>
            <a:r>
              <a:rPr lang="de-DE" altLang="de-DE" dirty="0"/>
              <a:t> Sicherung Ihres Vertrages ggf. durch den gesetzlichen Sicherungsfonds Protektor.</a:t>
            </a:r>
          </a:p>
          <a:p>
            <a:pPr lvl="1"/>
            <a:r>
              <a:rPr lang="de-DE" altLang="de-DE" b="1" dirty="0"/>
              <a:t>Tod:</a:t>
            </a:r>
            <a:r>
              <a:rPr lang="de-DE" altLang="de-DE" dirty="0"/>
              <a:t> Die Todesfallleistung steht den versorgungsberechtigten Hinterbliebenen zu. Dies sind die/der </a:t>
            </a:r>
          </a:p>
          <a:p>
            <a:pPr lvl="2">
              <a:spcAft>
                <a:spcPts val="0"/>
              </a:spcAft>
            </a:pPr>
            <a:r>
              <a:rPr lang="de-DE" altLang="de-DE" sz="1500" dirty="0"/>
              <a:t>Witwe/Witwer, mit dem die versorgungsberechtigte Person zum Zeitpunkt ihres Todes verheiratet war oder </a:t>
            </a:r>
          </a:p>
          <a:p>
            <a:pPr lvl="2">
              <a:spcAft>
                <a:spcPts val="0"/>
              </a:spcAft>
            </a:pPr>
            <a:r>
              <a:rPr lang="de-DE" altLang="de-DE" sz="1500" dirty="0"/>
              <a:t>Lebenspartnerin/Lebenspartner, mit dem die versorgungsberechtigte Person zum Zeitpunkt ihres Todes in einer eingetragenen Lebenspartnerschaft nach dem Lebenspartnerschaftsgesetz (</a:t>
            </a:r>
            <a:r>
              <a:rPr lang="de-DE" altLang="de-DE" sz="1500" dirty="0" err="1"/>
              <a:t>LPartG</a:t>
            </a:r>
            <a:r>
              <a:rPr lang="de-DE" altLang="de-DE" sz="1500" dirty="0"/>
              <a:t>) lebte oder </a:t>
            </a:r>
          </a:p>
          <a:p>
            <a:pPr lvl="2">
              <a:spcAft>
                <a:spcPts val="0"/>
              </a:spcAft>
            </a:pPr>
            <a:r>
              <a:rPr lang="de-DE" altLang="de-DE" sz="1500" dirty="0"/>
              <a:t>Kinder im Sinne des § 32 Absatz 1 bis 3, 4 Satz 1 Nr. 1 bis 3 und Absatz 5 Einkommensteuergesetz (EStG) der versorgungsberechtigten Person und diesen in der betrieblichen Altersversorgung steuerrechtlich Gleichgestellte oder </a:t>
            </a:r>
          </a:p>
          <a:p>
            <a:pPr lvl="2">
              <a:spcAft>
                <a:spcPts val="0"/>
              </a:spcAft>
            </a:pPr>
            <a:r>
              <a:rPr lang="de-DE" altLang="de-DE" sz="1500" dirty="0"/>
              <a:t>Lebensgefährtin/Lebensgefährte der versorgungsberechtigten Person wenn diese vor dem Todesfall fristgerecht benannt wurden und gemeinsame Haushaltsführung zum Zeitpunkt des Todesfalls bestanden hat.</a:t>
            </a:r>
          </a:p>
          <a:p>
            <a:pPr marL="266700" lvl="1" indent="0">
              <a:buNone/>
            </a:pPr>
            <a:r>
              <a:rPr lang="de-DE" altLang="de-DE" dirty="0"/>
              <a:t>Einzelheiten entnehmen Sie dem Antrag.</a:t>
            </a:r>
          </a:p>
        </p:txBody>
      </p:sp>
    </p:spTree>
    <p:extLst>
      <p:ext uri="{BB962C8B-B14F-4D97-AF65-F5344CB8AC3E}">
        <p14:creationId xmlns:p14="http://schemas.microsoft.com/office/powerpoint/2010/main" val="342115488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de-DE" dirty="0"/>
              <a:t>Inhalt</a:t>
            </a:r>
          </a:p>
        </p:txBody>
      </p:sp>
      <p:sp>
        <p:nvSpPr>
          <p:cNvPr id="3" name="Textplatzhalter 2"/>
          <p:cNvSpPr>
            <a:spLocks noGrp="1"/>
          </p:cNvSpPr>
          <p:nvPr>
            <p:ph type="body" sz="quarter" idx="17"/>
          </p:nvPr>
        </p:nvSpPr>
        <p:spPr/>
        <p:txBody>
          <a:bodyPr/>
          <a:lstStyle/>
          <a:p>
            <a:pPr marL="487025" indent="-342900"/>
            <a:r>
              <a:rPr lang="de-DE" altLang="de-DE" dirty="0"/>
              <a:t>Warum überhaupt betriebliche Altersversorgung?</a:t>
            </a:r>
          </a:p>
          <a:p>
            <a:pPr marL="487025" indent="-342900"/>
            <a:r>
              <a:rPr lang="de-DE" altLang="de-DE" dirty="0"/>
              <a:t>Ihr Recht auf betriebliche Altersversorgung</a:t>
            </a:r>
          </a:p>
          <a:p>
            <a:pPr marL="487025" indent="-342900"/>
            <a:r>
              <a:rPr lang="de-DE" altLang="de-DE" dirty="0"/>
              <a:t>Besondere bAV-Möglichkeiten für Minijobber</a:t>
            </a:r>
          </a:p>
          <a:p>
            <a:pPr marL="487025" indent="-342900"/>
            <a:r>
              <a:rPr lang="de-DE" altLang="de-DE" dirty="0"/>
              <a:t>Schutz im Fall von Arbeitslosigkeit und Insolvenz</a:t>
            </a:r>
          </a:p>
          <a:p>
            <a:pPr marL="487025" indent="-342900"/>
            <a:r>
              <a:rPr lang="de-DE" altLang="de-DE" dirty="0"/>
              <a:t>So funktioniert die Direktversicherung</a:t>
            </a:r>
          </a:p>
          <a:p>
            <a:pPr marL="487025" indent="-342900"/>
            <a:r>
              <a:rPr lang="de-DE" altLang="de-DE" dirty="0"/>
              <a:t>Die Stuttgarter – Partner für Ihre bAV</a:t>
            </a:r>
          </a:p>
        </p:txBody>
      </p:sp>
    </p:spTree>
    <p:extLst>
      <p:ext uri="{BB962C8B-B14F-4D97-AF65-F5344CB8AC3E}">
        <p14:creationId xmlns:p14="http://schemas.microsoft.com/office/powerpoint/2010/main" val="119523167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812732"/>
            <a:ext cx="9144000" cy="6045268"/>
          </a:xfrm>
          <a:prstGeom prst="rect">
            <a:avLst/>
          </a:prstGeom>
        </p:spPr>
      </p:pic>
      <p:sp>
        <p:nvSpPr>
          <p:cNvPr id="5" name="Abgerundetes Rechteck 24"/>
          <p:cNvSpPr/>
          <p:nvPr/>
        </p:nvSpPr>
        <p:spPr>
          <a:xfrm>
            <a:off x="647095" y="4840181"/>
            <a:ext cx="415347" cy="409710"/>
          </a:xfrm>
          <a:custGeom>
            <a:avLst/>
            <a:gdLst>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415087 w 415087"/>
              <a:gd name="connsiteY2" fmla="*/ 112132 h 414000"/>
              <a:gd name="connsiteX3" fmla="*/ 415087 w 415087"/>
              <a:gd name="connsiteY3" fmla="*/ 301868 h 414000"/>
              <a:gd name="connsiteX4" fmla="*/ 302955 w 415087"/>
              <a:gd name="connsiteY4" fmla="*/ 414000 h 414000"/>
              <a:gd name="connsiteX5" fmla="*/ 112132 w 415087"/>
              <a:gd name="connsiteY5" fmla="*/ 414000 h 414000"/>
              <a:gd name="connsiteX6" fmla="*/ 0 w 415087"/>
              <a:gd name="connsiteY6" fmla="*/ 301868 h 414000"/>
              <a:gd name="connsiteX7" fmla="*/ 0 w 415087"/>
              <a:gd name="connsiteY7" fmla="*/ 112132 h 414000"/>
              <a:gd name="connsiteX0" fmla="*/ 0 w 417243"/>
              <a:gd name="connsiteY0" fmla="*/ 112132 h 414000"/>
              <a:gd name="connsiteX1" fmla="*/ 112132 w 417243"/>
              <a:gd name="connsiteY1" fmla="*/ 0 h 414000"/>
              <a:gd name="connsiteX2" fmla="*/ 417243 w 417243"/>
              <a:gd name="connsiteY2" fmla="*/ 4301 h 414000"/>
              <a:gd name="connsiteX3" fmla="*/ 415087 w 417243"/>
              <a:gd name="connsiteY3" fmla="*/ 301868 h 414000"/>
              <a:gd name="connsiteX4" fmla="*/ 302955 w 417243"/>
              <a:gd name="connsiteY4" fmla="*/ 414000 h 414000"/>
              <a:gd name="connsiteX5" fmla="*/ 112132 w 417243"/>
              <a:gd name="connsiteY5" fmla="*/ 414000 h 414000"/>
              <a:gd name="connsiteX6" fmla="*/ 0 w 417243"/>
              <a:gd name="connsiteY6" fmla="*/ 301868 h 414000"/>
              <a:gd name="connsiteX7" fmla="*/ 0 w 417243"/>
              <a:gd name="connsiteY7" fmla="*/ 112132 h 414000"/>
              <a:gd name="connsiteX0" fmla="*/ 0 w 419399"/>
              <a:gd name="connsiteY0" fmla="*/ 112132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7" fmla="*/ 0 w 419399"/>
              <a:gd name="connsiteY7" fmla="*/ 112132 h 414000"/>
              <a:gd name="connsiteX0" fmla="*/ 0 w 419399"/>
              <a:gd name="connsiteY0" fmla="*/ 112135 h 414003"/>
              <a:gd name="connsiteX1" fmla="*/ 112132 w 419399"/>
              <a:gd name="connsiteY1" fmla="*/ 3 h 414003"/>
              <a:gd name="connsiteX2" fmla="*/ 419399 w 419399"/>
              <a:gd name="connsiteY2" fmla="*/ 2147 h 414003"/>
              <a:gd name="connsiteX3" fmla="*/ 415087 w 419399"/>
              <a:gd name="connsiteY3" fmla="*/ 301871 h 414003"/>
              <a:gd name="connsiteX4" fmla="*/ 302955 w 419399"/>
              <a:gd name="connsiteY4" fmla="*/ 414003 h 414003"/>
              <a:gd name="connsiteX5" fmla="*/ 112132 w 419399"/>
              <a:gd name="connsiteY5" fmla="*/ 414003 h 414003"/>
              <a:gd name="connsiteX6" fmla="*/ 0 w 419399"/>
              <a:gd name="connsiteY6" fmla="*/ 301871 h 414003"/>
              <a:gd name="connsiteX7" fmla="*/ 0 w 419399"/>
              <a:gd name="connsiteY7" fmla="*/ 112135 h 414003"/>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44516"/>
              <a:gd name="connsiteX1" fmla="*/ 112132 w 419399"/>
              <a:gd name="connsiteY1" fmla="*/ 0 h 444516"/>
              <a:gd name="connsiteX2" fmla="*/ 419399 w 419399"/>
              <a:gd name="connsiteY2" fmla="*/ 2144 h 444516"/>
              <a:gd name="connsiteX3" fmla="*/ 415087 w 419399"/>
              <a:gd name="connsiteY3" fmla="*/ 414011 h 444516"/>
              <a:gd name="connsiteX4" fmla="*/ 112132 w 419399"/>
              <a:gd name="connsiteY4" fmla="*/ 414000 h 444516"/>
              <a:gd name="connsiteX5" fmla="*/ 0 w 419399"/>
              <a:gd name="connsiteY5" fmla="*/ 301868 h 444516"/>
              <a:gd name="connsiteX0" fmla="*/ 0 w 419399"/>
              <a:gd name="connsiteY0" fmla="*/ 301868 h 414011"/>
              <a:gd name="connsiteX1" fmla="*/ 112132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4325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299724 h 411867"/>
              <a:gd name="connsiteX1" fmla="*/ 2146 w 419399"/>
              <a:gd name="connsiteY1" fmla="*/ 2169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301868 h 414011"/>
              <a:gd name="connsiteX1" fmla="*/ 2146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2170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5347"/>
              <a:gd name="connsiteY0" fmla="*/ 297567 h 409710"/>
              <a:gd name="connsiteX1" fmla="*/ 2146 w 415347"/>
              <a:gd name="connsiteY1" fmla="*/ 13 h 409710"/>
              <a:gd name="connsiteX2" fmla="*/ 412929 w 415347"/>
              <a:gd name="connsiteY2" fmla="*/ 0 h 409710"/>
              <a:gd name="connsiteX3" fmla="*/ 415087 w 415347"/>
              <a:gd name="connsiteY3" fmla="*/ 409710 h 409710"/>
              <a:gd name="connsiteX4" fmla="*/ 112132 w 415347"/>
              <a:gd name="connsiteY4" fmla="*/ 409699 h 409710"/>
              <a:gd name="connsiteX5" fmla="*/ 0 w 415347"/>
              <a:gd name="connsiteY5" fmla="*/ 297567 h 40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347" h="409710">
                <a:moveTo>
                  <a:pt x="0" y="297567"/>
                </a:moveTo>
                <a:cubicBezTo>
                  <a:pt x="715" y="199101"/>
                  <a:pt x="1431" y="98479"/>
                  <a:pt x="2146" y="13"/>
                </a:cubicBezTo>
                <a:lnTo>
                  <a:pt x="412929" y="0"/>
                </a:lnTo>
                <a:cubicBezTo>
                  <a:pt x="411492" y="137289"/>
                  <a:pt x="416524" y="272421"/>
                  <a:pt x="415087" y="409710"/>
                </a:cubicBezTo>
                <a:lnTo>
                  <a:pt x="112132" y="409699"/>
                </a:lnTo>
                <a:cubicBezTo>
                  <a:pt x="50203" y="409699"/>
                  <a:pt x="0" y="359496"/>
                  <a:pt x="0" y="297567"/>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de-DE" b="1" dirty="0"/>
          </a:p>
        </p:txBody>
      </p:sp>
      <p:sp>
        <p:nvSpPr>
          <p:cNvPr id="6" name="Textplatzhalter 5"/>
          <p:cNvSpPr>
            <a:spLocks noGrp="1"/>
          </p:cNvSpPr>
          <p:nvPr>
            <p:ph type="body" sz="quarter" idx="10"/>
          </p:nvPr>
        </p:nvSpPr>
        <p:spPr/>
        <p:txBody>
          <a:bodyPr/>
          <a:lstStyle/>
          <a:p>
            <a:r>
              <a:rPr lang="de-DE" dirty="0"/>
              <a:t>5.</a:t>
            </a:r>
          </a:p>
        </p:txBody>
      </p:sp>
      <p:sp>
        <p:nvSpPr>
          <p:cNvPr id="7" name="Abgerundetes Rechteck 18"/>
          <p:cNvSpPr/>
          <p:nvPr/>
        </p:nvSpPr>
        <p:spPr>
          <a:xfrm>
            <a:off x="1104814" y="4840181"/>
            <a:ext cx="6920249" cy="819192"/>
          </a:xfrm>
          <a:custGeom>
            <a:avLst/>
            <a:gdLst>
              <a:gd name="connsiteX0" fmla="*/ 0 w 6920249"/>
              <a:gd name="connsiteY0" fmla="*/ 136056 h 816317"/>
              <a:gd name="connsiteX1" fmla="*/ 136056 w 6920249"/>
              <a:gd name="connsiteY1" fmla="*/ 0 h 816317"/>
              <a:gd name="connsiteX2" fmla="*/ 6784193 w 6920249"/>
              <a:gd name="connsiteY2" fmla="*/ 0 h 816317"/>
              <a:gd name="connsiteX3" fmla="*/ 6920249 w 6920249"/>
              <a:gd name="connsiteY3" fmla="*/ 136056 h 816317"/>
              <a:gd name="connsiteX4" fmla="*/ 6920249 w 6920249"/>
              <a:gd name="connsiteY4" fmla="*/ 680261 h 816317"/>
              <a:gd name="connsiteX5" fmla="*/ 6784193 w 6920249"/>
              <a:gd name="connsiteY5" fmla="*/ 816317 h 816317"/>
              <a:gd name="connsiteX6" fmla="*/ 136056 w 6920249"/>
              <a:gd name="connsiteY6" fmla="*/ 816317 h 816317"/>
              <a:gd name="connsiteX7" fmla="*/ 0 w 6920249"/>
              <a:gd name="connsiteY7" fmla="*/ 680261 h 816317"/>
              <a:gd name="connsiteX8" fmla="*/ 0 w 6920249"/>
              <a:gd name="connsiteY8" fmla="*/ 136056 h 816317"/>
              <a:gd name="connsiteX0" fmla="*/ 0 w 6920249"/>
              <a:gd name="connsiteY0" fmla="*/ 680261 h 816317"/>
              <a:gd name="connsiteX1" fmla="*/ 136056 w 6920249"/>
              <a:gd name="connsiteY1" fmla="*/ 0 h 816317"/>
              <a:gd name="connsiteX2" fmla="*/ 6784193 w 6920249"/>
              <a:gd name="connsiteY2" fmla="*/ 0 h 816317"/>
              <a:gd name="connsiteX3" fmla="*/ 6920249 w 6920249"/>
              <a:gd name="connsiteY3" fmla="*/ 136056 h 816317"/>
              <a:gd name="connsiteX4" fmla="*/ 6920249 w 6920249"/>
              <a:gd name="connsiteY4" fmla="*/ 680261 h 816317"/>
              <a:gd name="connsiteX5" fmla="*/ 6784193 w 6920249"/>
              <a:gd name="connsiteY5" fmla="*/ 816317 h 816317"/>
              <a:gd name="connsiteX6" fmla="*/ 136056 w 6920249"/>
              <a:gd name="connsiteY6" fmla="*/ 816317 h 816317"/>
              <a:gd name="connsiteX7" fmla="*/ 0 w 6920249"/>
              <a:gd name="connsiteY7" fmla="*/ 680261 h 816317"/>
              <a:gd name="connsiteX0" fmla="*/ 0 w 6920249"/>
              <a:gd name="connsiteY0" fmla="*/ 683136 h 819192"/>
              <a:gd name="connsiteX1" fmla="*/ 6660 w 6920249"/>
              <a:gd name="connsiteY1" fmla="*/ 0 h 819192"/>
              <a:gd name="connsiteX2" fmla="*/ 6784193 w 6920249"/>
              <a:gd name="connsiteY2" fmla="*/ 2875 h 819192"/>
              <a:gd name="connsiteX3" fmla="*/ 6920249 w 6920249"/>
              <a:gd name="connsiteY3" fmla="*/ 138931 h 819192"/>
              <a:gd name="connsiteX4" fmla="*/ 6920249 w 6920249"/>
              <a:gd name="connsiteY4" fmla="*/ 683136 h 819192"/>
              <a:gd name="connsiteX5" fmla="*/ 6784193 w 6920249"/>
              <a:gd name="connsiteY5" fmla="*/ 819192 h 819192"/>
              <a:gd name="connsiteX6" fmla="*/ 136056 w 6920249"/>
              <a:gd name="connsiteY6" fmla="*/ 819192 h 819192"/>
              <a:gd name="connsiteX7" fmla="*/ 0 w 6920249"/>
              <a:gd name="connsiteY7" fmla="*/ 683136 h 819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20249" h="819192">
                <a:moveTo>
                  <a:pt x="0" y="683136"/>
                </a:moveTo>
                <a:lnTo>
                  <a:pt x="6660" y="0"/>
                </a:lnTo>
                <a:lnTo>
                  <a:pt x="6784193" y="2875"/>
                </a:lnTo>
                <a:cubicBezTo>
                  <a:pt x="6859335" y="2875"/>
                  <a:pt x="6920249" y="63789"/>
                  <a:pt x="6920249" y="138931"/>
                </a:cubicBezTo>
                <a:lnTo>
                  <a:pt x="6920249" y="683136"/>
                </a:lnTo>
                <a:cubicBezTo>
                  <a:pt x="6920249" y="758278"/>
                  <a:pt x="6859335" y="819192"/>
                  <a:pt x="6784193" y="819192"/>
                </a:cubicBezTo>
                <a:lnTo>
                  <a:pt x="136056" y="819192"/>
                </a:lnTo>
                <a:cubicBezTo>
                  <a:pt x="60914" y="819192"/>
                  <a:pt x="0" y="758278"/>
                  <a:pt x="0" y="683136"/>
                </a:cubicBezTo>
                <a:close/>
              </a:path>
            </a:pathLst>
          </a:custGeom>
          <a:solidFill>
            <a:schemeClr val="bg1">
              <a:alpha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Titel 2"/>
          <p:cNvSpPr>
            <a:spLocks noGrp="1"/>
          </p:cNvSpPr>
          <p:nvPr>
            <p:ph type="title"/>
          </p:nvPr>
        </p:nvSpPr>
        <p:spPr>
          <a:xfrm>
            <a:off x="1848668" y="4840181"/>
            <a:ext cx="5589362" cy="812016"/>
          </a:xfrm>
        </p:spPr>
        <p:txBody>
          <a:bodyPr/>
          <a:lstStyle/>
          <a:p>
            <a:r>
              <a:rPr lang="de-DE" altLang="de-DE" dirty="0"/>
              <a:t>So funktioniert die Direktversicherung</a:t>
            </a:r>
            <a:endParaRPr lang="de-DE" dirty="0"/>
          </a:p>
        </p:txBody>
      </p:sp>
    </p:spTree>
    <p:extLst>
      <p:ext uri="{BB962C8B-B14F-4D97-AF65-F5344CB8AC3E}">
        <p14:creationId xmlns:p14="http://schemas.microsoft.com/office/powerpoint/2010/main" val="346751193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dirty="0"/>
              <a:t>Versorgungskonzept:</a:t>
            </a:r>
            <a:br>
              <a:rPr lang="de-DE" altLang="de-DE" dirty="0"/>
            </a:br>
            <a:r>
              <a:rPr lang="de-DE" altLang="de-DE" dirty="0"/>
              <a:t>Ihr Arbeitgeber hat sich DIREKT entschieden</a:t>
            </a:r>
            <a:endParaRPr lang="de-DE" dirty="0"/>
          </a:p>
        </p:txBody>
      </p:sp>
      <p:sp>
        <p:nvSpPr>
          <p:cNvPr id="4" name="Textplatzhalter 3"/>
          <p:cNvSpPr>
            <a:spLocks noGrp="1"/>
          </p:cNvSpPr>
          <p:nvPr>
            <p:ph type="body" sz="quarter" idx="21"/>
          </p:nvPr>
        </p:nvSpPr>
        <p:spPr>
          <a:xfrm>
            <a:off x="358775" y="2087563"/>
            <a:ext cx="8426449" cy="261610"/>
          </a:xfrm>
        </p:spPr>
        <p:txBody>
          <a:bodyPr/>
          <a:lstStyle/>
          <a:p>
            <a:r>
              <a:rPr lang="de-DE" altLang="de-DE" dirty="0"/>
              <a:t>Ihre betriebliche Altersversorgung erfolgt auf dem Weg der Direktversicherung.</a:t>
            </a:r>
          </a:p>
        </p:txBody>
      </p:sp>
      <p:sp>
        <p:nvSpPr>
          <p:cNvPr id="5" name="Textplatzhalter 4"/>
          <p:cNvSpPr>
            <a:spLocks noGrp="1"/>
          </p:cNvSpPr>
          <p:nvPr>
            <p:ph type="body" sz="quarter" idx="23"/>
          </p:nvPr>
        </p:nvSpPr>
        <p:spPr/>
        <p:txBody>
          <a:bodyPr/>
          <a:lstStyle/>
          <a:p>
            <a:endParaRPr lang="de-DE"/>
          </a:p>
        </p:txBody>
      </p:sp>
      <p:sp>
        <p:nvSpPr>
          <p:cNvPr id="6" name="Textplatzhalter 5"/>
          <p:cNvSpPr>
            <a:spLocks noGrp="1"/>
          </p:cNvSpPr>
          <p:nvPr>
            <p:ph type="body" sz="quarter" idx="24"/>
          </p:nvPr>
        </p:nvSpPr>
        <p:spPr/>
        <p:txBody>
          <a:bodyPr/>
          <a:lstStyle/>
          <a:p>
            <a:r>
              <a:rPr lang="de-DE" dirty="0"/>
              <a:t>In der Direktversicherung erfolgt die betriebliche Altersversorgung für Sie ganz bequem, denn Ihr Arbeitgeber kümmert sich um die gesamte Abwicklung. </a:t>
            </a:r>
          </a:p>
        </p:txBody>
      </p:sp>
      <p:sp>
        <p:nvSpPr>
          <p:cNvPr id="7" name="Textplatzhalter 6"/>
          <p:cNvSpPr>
            <a:spLocks noGrp="1"/>
          </p:cNvSpPr>
          <p:nvPr>
            <p:ph type="body" sz="quarter" idx="18"/>
          </p:nvPr>
        </p:nvSpPr>
        <p:spPr/>
        <p:txBody>
          <a:bodyPr/>
          <a:lstStyle/>
          <a:p>
            <a:r>
              <a:rPr lang="de-DE" dirty="0"/>
              <a:t>5. </a:t>
            </a:r>
            <a:r>
              <a:rPr lang="de-DE" altLang="de-DE" dirty="0"/>
              <a:t>So funktioniert die Direktversicherung</a:t>
            </a:r>
            <a:endParaRPr lang="de-DE" dirty="0"/>
          </a:p>
        </p:txBody>
      </p:sp>
      <p:sp>
        <p:nvSpPr>
          <p:cNvPr id="8" name="Datumsplatzhalter 7"/>
          <p:cNvSpPr>
            <a:spLocks noGrp="1"/>
          </p:cNvSpPr>
          <p:nvPr>
            <p:ph type="dt" sz="half" idx="25"/>
          </p:nvPr>
        </p:nvSpPr>
        <p:spPr/>
        <p:txBody>
          <a:bodyPr/>
          <a:lstStyle/>
          <a:p>
            <a:r>
              <a:rPr lang="de-DE"/>
              <a:t>01.01.2020</a:t>
            </a:r>
            <a:endParaRPr lang="de-DE" dirty="0"/>
          </a:p>
        </p:txBody>
      </p:sp>
      <p:sp>
        <p:nvSpPr>
          <p:cNvPr id="9" name="Fußzeilenplatzhalter 8"/>
          <p:cNvSpPr>
            <a:spLocks noGrp="1"/>
          </p:cNvSpPr>
          <p:nvPr>
            <p:ph type="ftr" sz="quarter" idx="26"/>
          </p:nvPr>
        </p:nvSpPr>
        <p:spPr/>
        <p:txBody>
          <a:bodyPr/>
          <a:lstStyle/>
          <a:p>
            <a:r>
              <a:rPr lang="de-DE"/>
              <a:t>Präsentation für Arbeitnehmer</a:t>
            </a:r>
            <a:endParaRPr lang="de-DE" dirty="0"/>
          </a:p>
        </p:txBody>
      </p:sp>
      <p:sp>
        <p:nvSpPr>
          <p:cNvPr id="10" name="Foliennummernplatzhalter 9"/>
          <p:cNvSpPr>
            <a:spLocks noGrp="1"/>
          </p:cNvSpPr>
          <p:nvPr>
            <p:ph type="sldNum" sz="quarter" idx="27"/>
          </p:nvPr>
        </p:nvSpPr>
        <p:spPr/>
        <p:txBody>
          <a:bodyPr/>
          <a:lstStyle/>
          <a:p>
            <a:fld id="{BFE8ADF1-837C-463F-9856-54C2D771B21B}" type="slidenum">
              <a:rPr lang="de-DE" smtClean="0"/>
              <a:pPr/>
              <a:t>21</a:t>
            </a:fld>
            <a:endParaRPr lang="de-DE" dirty="0"/>
          </a:p>
        </p:txBody>
      </p:sp>
      <p:grpSp>
        <p:nvGrpSpPr>
          <p:cNvPr id="28" name="Gruppieren 27"/>
          <p:cNvGrpSpPr/>
          <p:nvPr/>
        </p:nvGrpSpPr>
        <p:grpSpPr>
          <a:xfrm>
            <a:off x="1316990" y="2759710"/>
            <a:ext cx="6490970" cy="2217979"/>
            <a:chOff x="1316990" y="2759710"/>
            <a:chExt cx="6490970" cy="2217979"/>
          </a:xfrm>
        </p:grpSpPr>
        <p:sp>
          <p:nvSpPr>
            <p:cNvPr id="29" name="Textfeld 28"/>
            <p:cNvSpPr txBox="1"/>
            <p:nvPr/>
          </p:nvSpPr>
          <p:spPr bwMode="auto">
            <a:xfrm>
              <a:off x="3221038" y="2759710"/>
              <a:ext cx="1852623" cy="184666"/>
            </a:xfrm>
            <a:prstGeom prst="rect">
              <a:avLst/>
            </a:prstGeom>
            <a:noFill/>
          </p:spPr>
          <p:txBody>
            <a:bodyPr wrap="none" lIns="0" tIns="0" rIns="0" bIns="0">
              <a:spAutoFit/>
            </a:bodyPr>
            <a:lstStyle/>
            <a:p>
              <a:pPr eaLnBrk="1" hangingPunct="1">
                <a:defRPr/>
              </a:pPr>
              <a:r>
                <a:rPr lang="de-DE" sz="1200" b="1" dirty="0">
                  <a:solidFill>
                    <a:schemeClr val="accent1"/>
                  </a:solidFill>
                </a:rPr>
                <a:t>Versorgungsversprechen</a:t>
              </a:r>
            </a:p>
          </p:txBody>
        </p:sp>
        <p:sp>
          <p:nvSpPr>
            <p:cNvPr id="30" name="Textfeld 29"/>
            <p:cNvSpPr txBox="1"/>
            <p:nvPr/>
          </p:nvSpPr>
          <p:spPr bwMode="auto">
            <a:xfrm>
              <a:off x="3235325" y="3282951"/>
              <a:ext cx="2087563" cy="738664"/>
            </a:xfrm>
            <a:prstGeom prst="rect">
              <a:avLst/>
            </a:prstGeom>
            <a:noFill/>
          </p:spPr>
          <p:txBody>
            <a:bodyPr lIns="0" tIns="0" rIns="0" bIns="0">
              <a:spAutoFit/>
            </a:bodyPr>
            <a:lstStyle/>
            <a:p>
              <a:pPr algn="r" eaLnBrk="1" hangingPunct="1">
                <a:defRPr/>
              </a:pPr>
              <a:r>
                <a:rPr lang="de-DE" sz="1200" b="1" dirty="0">
                  <a:solidFill>
                    <a:schemeClr val="accent1"/>
                  </a:solidFill>
                </a:rPr>
                <a:t>Betriebstreue </a:t>
              </a:r>
              <a:br>
                <a:rPr lang="de-DE" sz="1200" b="1" dirty="0">
                  <a:solidFill>
                    <a:schemeClr val="accent1"/>
                  </a:solidFill>
                </a:rPr>
              </a:br>
              <a:r>
                <a:rPr lang="de-DE" sz="1200" b="1" dirty="0">
                  <a:solidFill>
                    <a:schemeClr val="accent1"/>
                  </a:solidFill>
                </a:rPr>
                <a:t>(3 Jahre, Alter 21)</a:t>
              </a:r>
              <a:br>
                <a:rPr lang="de-DE" sz="1200" b="1" dirty="0">
                  <a:solidFill>
                    <a:schemeClr val="accent1"/>
                  </a:solidFill>
                </a:rPr>
              </a:br>
              <a:r>
                <a:rPr lang="de-DE" sz="1200" b="1" dirty="0">
                  <a:solidFill>
                    <a:schemeClr val="accent1"/>
                  </a:solidFill>
                </a:rPr>
                <a:t>und / oder</a:t>
              </a:r>
            </a:p>
            <a:p>
              <a:pPr algn="r" eaLnBrk="1" hangingPunct="1">
                <a:defRPr/>
              </a:pPr>
              <a:r>
                <a:rPr lang="de-DE" sz="1200" b="1" dirty="0">
                  <a:solidFill>
                    <a:schemeClr val="accent1"/>
                  </a:solidFill>
                </a:rPr>
                <a:t>Entgeltumwandlung</a:t>
              </a:r>
            </a:p>
          </p:txBody>
        </p:sp>
        <p:cxnSp>
          <p:nvCxnSpPr>
            <p:cNvPr id="31" name="Gerade Verbindung mit Pfeil 30"/>
            <p:cNvCxnSpPr/>
            <p:nvPr/>
          </p:nvCxnSpPr>
          <p:spPr>
            <a:xfrm flipH="1">
              <a:off x="3305386" y="3217104"/>
              <a:ext cx="2088000" cy="0"/>
            </a:xfrm>
            <a:prstGeom prst="straightConnector1">
              <a:avLst/>
            </a:prstGeom>
            <a:ln>
              <a:solidFill>
                <a:schemeClr val="tx2">
                  <a:lumMod val="75000"/>
                </a:schemeClr>
              </a:solidFill>
              <a:tailEnd type="triangle" w="lg" len="med"/>
            </a:ln>
            <a:effectLst/>
          </p:spPr>
          <p:style>
            <a:lnRef idx="2">
              <a:schemeClr val="accent1"/>
            </a:lnRef>
            <a:fillRef idx="0">
              <a:schemeClr val="accent1"/>
            </a:fillRef>
            <a:effectRef idx="1">
              <a:schemeClr val="accent1"/>
            </a:effectRef>
            <a:fontRef idx="minor">
              <a:schemeClr val="tx1"/>
            </a:fontRef>
          </p:style>
        </p:cxnSp>
        <p:sp>
          <p:nvSpPr>
            <p:cNvPr id="32" name="Textfeld 31"/>
            <p:cNvSpPr txBox="1"/>
            <p:nvPr/>
          </p:nvSpPr>
          <p:spPr bwMode="auto">
            <a:xfrm>
              <a:off x="1316990" y="3392488"/>
              <a:ext cx="613951" cy="184666"/>
            </a:xfrm>
            <a:prstGeom prst="rect">
              <a:avLst/>
            </a:prstGeom>
            <a:noFill/>
          </p:spPr>
          <p:txBody>
            <a:bodyPr wrap="none" lIns="0" tIns="0" rIns="0" bIns="0">
              <a:spAutoFit/>
            </a:bodyPr>
            <a:lstStyle/>
            <a:p>
              <a:pPr eaLnBrk="1" hangingPunct="1">
                <a:defRPr/>
              </a:pPr>
              <a:r>
                <a:rPr lang="de-DE" sz="1200" b="1" dirty="0">
                  <a:solidFill>
                    <a:schemeClr val="accent1"/>
                  </a:solidFill>
                </a:rPr>
                <a:t>Beiträge</a:t>
              </a:r>
            </a:p>
          </p:txBody>
        </p:sp>
        <p:sp>
          <p:nvSpPr>
            <p:cNvPr id="33" name="Textfeld 32"/>
            <p:cNvSpPr txBox="1"/>
            <p:nvPr/>
          </p:nvSpPr>
          <p:spPr bwMode="auto">
            <a:xfrm>
              <a:off x="6645910" y="3863975"/>
              <a:ext cx="1162050" cy="384175"/>
            </a:xfrm>
            <a:prstGeom prst="rect">
              <a:avLst/>
            </a:prstGeom>
            <a:noFill/>
          </p:spPr>
          <p:txBody>
            <a:bodyPr wrap="none" lIns="0" tIns="0" rIns="0" bIns="0">
              <a:spAutoFit/>
            </a:bodyPr>
            <a:lstStyle/>
            <a:p>
              <a:pPr eaLnBrk="1" hangingPunct="1">
                <a:defRPr/>
              </a:pPr>
              <a:r>
                <a:rPr lang="de-DE" sz="1250" b="1" dirty="0">
                  <a:solidFill>
                    <a:schemeClr val="accent1"/>
                  </a:solidFill>
                </a:rPr>
                <a:t>Versicherungs-</a:t>
              </a:r>
              <a:br>
                <a:rPr lang="de-DE" sz="1250" b="1" dirty="0">
                  <a:solidFill>
                    <a:schemeClr val="accent1"/>
                  </a:solidFill>
                </a:rPr>
              </a:br>
              <a:r>
                <a:rPr lang="de-DE" sz="1250" b="1" dirty="0" err="1">
                  <a:solidFill>
                    <a:schemeClr val="accent1"/>
                  </a:solidFill>
                </a:rPr>
                <a:t>leistung</a:t>
              </a:r>
              <a:endParaRPr lang="de-DE" sz="1250" b="1" dirty="0">
                <a:solidFill>
                  <a:schemeClr val="accent1"/>
                </a:solidFill>
              </a:endParaRPr>
            </a:p>
          </p:txBody>
        </p:sp>
        <p:sp>
          <p:nvSpPr>
            <p:cNvPr id="34" name="Textfeld 33"/>
            <p:cNvSpPr txBox="1"/>
            <p:nvPr/>
          </p:nvSpPr>
          <p:spPr>
            <a:xfrm>
              <a:off x="2034319" y="4782771"/>
              <a:ext cx="4373886" cy="194918"/>
            </a:xfrm>
            <a:prstGeom prst="rect">
              <a:avLst/>
            </a:prstGeom>
            <a:noFill/>
          </p:spPr>
          <p:txBody>
            <a:bodyPr wrap="none" lIns="0" tIns="0" rIns="0" bIns="0" rtlCol="0">
              <a:noAutofit/>
            </a:bodyPr>
            <a:lstStyle/>
            <a:p>
              <a:r>
                <a:rPr lang="de-DE" sz="1000" dirty="0"/>
                <a:t>Versorgungsträger: z.B. ein Versicherungsverein auf Gegenseitigkeit (</a:t>
              </a:r>
              <a:r>
                <a:rPr lang="de-DE" sz="1000" dirty="0" err="1"/>
                <a:t>VVaG</a:t>
              </a:r>
              <a:r>
                <a:rPr lang="de-DE" sz="1000" dirty="0"/>
                <a:t>)</a:t>
              </a:r>
            </a:p>
          </p:txBody>
        </p:sp>
        <p:cxnSp>
          <p:nvCxnSpPr>
            <p:cNvPr id="35" name="Gerade Verbindung mit Pfeil 34"/>
            <p:cNvCxnSpPr/>
            <p:nvPr/>
          </p:nvCxnSpPr>
          <p:spPr>
            <a:xfrm rot="5400000">
              <a:off x="1383620" y="3713896"/>
              <a:ext cx="1260000" cy="0"/>
            </a:xfrm>
            <a:prstGeom prst="straightConnector1">
              <a:avLst/>
            </a:prstGeom>
            <a:ln>
              <a:solidFill>
                <a:schemeClr val="tx2"/>
              </a:solidFill>
              <a:tailEnd type="triangle" w="lg" len="med"/>
            </a:ln>
            <a:effectLst/>
          </p:spPr>
          <p:style>
            <a:lnRef idx="2">
              <a:schemeClr val="accent1"/>
            </a:lnRef>
            <a:fillRef idx="0">
              <a:schemeClr val="accent1"/>
            </a:fillRef>
            <a:effectRef idx="1">
              <a:schemeClr val="accent1"/>
            </a:effectRef>
            <a:fontRef idx="minor">
              <a:schemeClr val="tx1"/>
            </a:fontRef>
          </p:style>
        </p:cxnSp>
        <p:cxnSp>
          <p:nvCxnSpPr>
            <p:cNvPr id="36" name="Gerade Verbindung mit Pfeil 35"/>
            <p:cNvCxnSpPr/>
            <p:nvPr/>
          </p:nvCxnSpPr>
          <p:spPr>
            <a:xfrm>
              <a:off x="3140286" y="3013904"/>
              <a:ext cx="2088000" cy="0"/>
            </a:xfrm>
            <a:prstGeom prst="straightConnector1">
              <a:avLst/>
            </a:prstGeom>
            <a:ln>
              <a:solidFill>
                <a:schemeClr val="tx2"/>
              </a:solidFill>
              <a:tailEnd type="triangle" w="lg" len="med"/>
            </a:ln>
            <a:effectLst/>
          </p:spPr>
          <p:style>
            <a:lnRef idx="2">
              <a:schemeClr val="accent1"/>
            </a:lnRef>
            <a:fillRef idx="0">
              <a:schemeClr val="accent1"/>
            </a:fillRef>
            <a:effectRef idx="1">
              <a:schemeClr val="accent1"/>
            </a:effectRef>
            <a:fontRef idx="minor">
              <a:schemeClr val="tx1"/>
            </a:fontRef>
          </p:style>
        </p:cxnSp>
        <p:sp>
          <p:nvSpPr>
            <p:cNvPr id="37" name="Abgerundetes Rechteck 11"/>
            <p:cNvSpPr/>
            <p:nvPr/>
          </p:nvSpPr>
          <p:spPr>
            <a:xfrm>
              <a:off x="1766352" y="2937851"/>
              <a:ext cx="1440000" cy="360000"/>
            </a:xfrm>
            <a:custGeom>
              <a:avLst/>
              <a:gdLst>
                <a:gd name="connsiteX0" fmla="*/ 0 w 1506081"/>
                <a:gd name="connsiteY0" fmla="*/ 58810 h 352853"/>
                <a:gd name="connsiteX1" fmla="*/ 58810 w 1506081"/>
                <a:gd name="connsiteY1" fmla="*/ 0 h 352853"/>
                <a:gd name="connsiteX2" fmla="*/ 1447271 w 1506081"/>
                <a:gd name="connsiteY2" fmla="*/ 0 h 352853"/>
                <a:gd name="connsiteX3" fmla="*/ 1506081 w 1506081"/>
                <a:gd name="connsiteY3" fmla="*/ 58810 h 352853"/>
                <a:gd name="connsiteX4" fmla="*/ 1506081 w 1506081"/>
                <a:gd name="connsiteY4" fmla="*/ 294043 h 352853"/>
                <a:gd name="connsiteX5" fmla="*/ 1447271 w 1506081"/>
                <a:gd name="connsiteY5" fmla="*/ 352853 h 352853"/>
                <a:gd name="connsiteX6" fmla="*/ 58810 w 1506081"/>
                <a:gd name="connsiteY6" fmla="*/ 352853 h 352853"/>
                <a:gd name="connsiteX7" fmla="*/ 0 w 1506081"/>
                <a:gd name="connsiteY7" fmla="*/ 294043 h 352853"/>
                <a:gd name="connsiteX8" fmla="*/ 0 w 1506081"/>
                <a:gd name="connsiteY8" fmla="*/ 58810 h 352853"/>
                <a:gd name="connsiteX0" fmla="*/ 0 w 1506081"/>
                <a:gd name="connsiteY0" fmla="*/ 294043 h 352853"/>
                <a:gd name="connsiteX1" fmla="*/ 58810 w 1506081"/>
                <a:gd name="connsiteY1" fmla="*/ 0 h 352853"/>
                <a:gd name="connsiteX2" fmla="*/ 1447271 w 1506081"/>
                <a:gd name="connsiteY2" fmla="*/ 0 h 352853"/>
                <a:gd name="connsiteX3" fmla="*/ 1506081 w 1506081"/>
                <a:gd name="connsiteY3" fmla="*/ 58810 h 352853"/>
                <a:gd name="connsiteX4" fmla="*/ 1506081 w 1506081"/>
                <a:gd name="connsiteY4" fmla="*/ 294043 h 352853"/>
                <a:gd name="connsiteX5" fmla="*/ 1447271 w 1506081"/>
                <a:gd name="connsiteY5" fmla="*/ 352853 h 352853"/>
                <a:gd name="connsiteX6" fmla="*/ 58810 w 1506081"/>
                <a:gd name="connsiteY6" fmla="*/ 352853 h 352853"/>
                <a:gd name="connsiteX7" fmla="*/ 0 w 1506081"/>
                <a:gd name="connsiteY7" fmla="*/ 294043 h 352853"/>
                <a:gd name="connsiteX0" fmla="*/ 0 w 1506081"/>
                <a:gd name="connsiteY0" fmla="*/ 294043 h 352853"/>
                <a:gd name="connsiteX1" fmla="*/ 582 w 1506081"/>
                <a:gd name="connsiteY1" fmla="*/ 2157 h 352853"/>
                <a:gd name="connsiteX2" fmla="*/ 1447271 w 1506081"/>
                <a:gd name="connsiteY2" fmla="*/ 0 h 352853"/>
                <a:gd name="connsiteX3" fmla="*/ 1506081 w 1506081"/>
                <a:gd name="connsiteY3" fmla="*/ 58810 h 352853"/>
                <a:gd name="connsiteX4" fmla="*/ 1506081 w 1506081"/>
                <a:gd name="connsiteY4" fmla="*/ 294043 h 352853"/>
                <a:gd name="connsiteX5" fmla="*/ 1447271 w 1506081"/>
                <a:gd name="connsiteY5" fmla="*/ 352853 h 352853"/>
                <a:gd name="connsiteX6" fmla="*/ 58810 w 1506081"/>
                <a:gd name="connsiteY6" fmla="*/ 352853 h 352853"/>
                <a:gd name="connsiteX7" fmla="*/ 0 w 1506081"/>
                <a:gd name="connsiteY7" fmla="*/ 294043 h 352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06081" h="352853">
                  <a:moveTo>
                    <a:pt x="0" y="294043"/>
                  </a:moveTo>
                  <a:lnTo>
                    <a:pt x="582" y="2157"/>
                  </a:lnTo>
                  <a:lnTo>
                    <a:pt x="1447271" y="0"/>
                  </a:lnTo>
                  <a:cubicBezTo>
                    <a:pt x="1479751" y="0"/>
                    <a:pt x="1506081" y="26330"/>
                    <a:pt x="1506081" y="58810"/>
                  </a:cubicBezTo>
                  <a:lnTo>
                    <a:pt x="1506081" y="294043"/>
                  </a:lnTo>
                  <a:cubicBezTo>
                    <a:pt x="1506081" y="326523"/>
                    <a:pt x="1479751" y="352853"/>
                    <a:pt x="1447271" y="352853"/>
                  </a:cubicBezTo>
                  <a:lnTo>
                    <a:pt x="58810" y="352853"/>
                  </a:lnTo>
                  <a:cubicBezTo>
                    <a:pt x="26330" y="352853"/>
                    <a:pt x="0" y="326523"/>
                    <a:pt x="0" y="294043"/>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wrap="none" lIns="72000" tIns="36000" rIns="72000" bIns="36000" rtlCol="0" anchor="ctr">
              <a:spAutoFit/>
            </a:bodyPr>
            <a:lstStyle>
              <a:defPPr>
                <a:defRPr lang="de-DE"/>
              </a:defPPr>
              <a:lvl1pPr algn="l" defTabSz="457200" rtl="0" eaLnBrk="0" fontAlgn="base" hangingPunct="0">
                <a:spcBef>
                  <a:spcPct val="0"/>
                </a:spcBef>
                <a:spcAft>
                  <a:spcPct val="0"/>
                </a:spcAft>
                <a:defRPr kern="1200">
                  <a:solidFill>
                    <a:schemeClr val="lt1"/>
                  </a:solidFill>
                  <a:latin typeface="+mn-lt"/>
                  <a:ea typeface="+mn-ea"/>
                  <a:cs typeface="+mn-cs"/>
                </a:defRPr>
              </a:lvl1pPr>
              <a:lvl2pPr marL="457200" algn="l" defTabSz="457200" rtl="0" eaLnBrk="0" fontAlgn="base" hangingPunct="0">
                <a:spcBef>
                  <a:spcPct val="0"/>
                </a:spcBef>
                <a:spcAft>
                  <a:spcPct val="0"/>
                </a:spcAft>
                <a:defRPr kern="1200">
                  <a:solidFill>
                    <a:schemeClr val="lt1"/>
                  </a:solidFill>
                  <a:latin typeface="+mn-lt"/>
                  <a:ea typeface="+mn-ea"/>
                  <a:cs typeface="+mn-cs"/>
                </a:defRPr>
              </a:lvl2pPr>
              <a:lvl3pPr marL="914400" algn="l" defTabSz="457200" rtl="0" eaLnBrk="0" fontAlgn="base" hangingPunct="0">
                <a:spcBef>
                  <a:spcPct val="0"/>
                </a:spcBef>
                <a:spcAft>
                  <a:spcPct val="0"/>
                </a:spcAft>
                <a:defRPr kern="1200">
                  <a:solidFill>
                    <a:schemeClr val="lt1"/>
                  </a:solidFill>
                  <a:latin typeface="+mn-lt"/>
                  <a:ea typeface="+mn-ea"/>
                  <a:cs typeface="+mn-cs"/>
                </a:defRPr>
              </a:lvl3pPr>
              <a:lvl4pPr marL="1371600" algn="l" defTabSz="457200" rtl="0" eaLnBrk="0" fontAlgn="base" hangingPunct="0">
                <a:spcBef>
                  <a:spcPct val="0"/>
                </a:spcBef>
                <a:spcAft>
                  <a:spcPct val="0"/>
                </a:spcAft>
                <a:defRPr kern="1200">
                  <a:solidFill>
                    <a:schemeClr val="lt1"/>
                  </a:solidFill>
                  <a:latin typeface="+mn-lt"/>
                  <a:ea typeface="+mn-ea"/>
                  <a:cs typeface="+mn-cs"/>
                </a:defRPr>
              </a:lvl4pPr>
              <a:lvl5pPr marL="1828800" algn="l" defTabSz="457200"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r>
                <a:rPr lang="de-DE" sz="1600" b="1" dirty="0"/>
                <a:t>Arbeitgeber</a:t>
              </a:r>
            </a:p>
          </p:txBody>
        </p:sp>
        <p:sp>
          <p:nvSpPr>
            <p:cNvPr id="38" name="Abgerundetes Rechteck 13"/>
            <p:cNvSpPr/>
            <p:nvPr/>
          </p:nvSpPr>
          <p:spPr>
            <a:xfrm>
              <a:off x="5327089" y="2936895"/>
              <a:ext cx="1512000" cy="360000"/>
            </a:xfrm>
            <a:custGeom>
              <a:avLst/>
              <a:gdLst>
                <a:gd name="connsiteX0" fmla="*/ 0 w 1122837"/>
                <a:gd name="connsiteY0" fmla="*/ 58810 h 352853"/>
                <a:gd name="connsiteX1" fmla="*/ 58810 w 1122837"/>
                <a:gd name="connsiteY1" fmla="*/ 0 h 352853"/>
                <a:gd name="connsiteX2" fmla="*/ 1064027 w 1122837"/>
                <a:gd name="connsiteY2" fmla="*/ 0 h 352853"/>
                <a:gd name="connsiteX3" fmla="*/ 1122837 w 1122837"/>
                <a:gd name="connsiteY3" fmla="*/ 58810 h 352853"/>
                <a:gd name="connsiteX4" fmla="*/ 1122837 w 1122837"/>
                <a:gd name="connsiteY4" fmla="*/ 294043 h 352853"/>
                <a:gd name="connsiteX5" fmla="*/ 1064027 w 1122837"/>
                <a:gd name="connsiteY5" fmla="*/ 352853 h 352853"/>
                <a:gd name="connsiteX6" fmla="*/ 58810 w 1122837"/>
                <a:gd name="connsiteY6" fmla="*/ 352853 h 352853"/>
                <a:gd name="connsiteX7" fmla="*/ 0 w 1122837"/>
                <a:gd name="connsiteY7" fmla="*/ 294043 h 352853"/>
                <a:gd name="connsiteX8" fmla="*/ 0 w 1122837"/>
                <a:gd name="connsiteY8" fmla="*/ 58810 h 352853"/>
                <a:gd name="connsiteX0" fmla="*/ 0 w 1122837"/>
                <a:gd name="connsiteY0" fmla="*/ 294043 h 352853"/>
                <a:gd name="connsiteX1" fmla="*/ 58810 w 1122837"/>
                <a:gd name="connsiteY1" fmla="*/ 0 h 352853"/>
                <a:gd name="connsiteX2" fmla="*/ 1064027 w 1122837"/>
                <a:gd name="connsiteY2" fmla="*/ 0 h 352853"/>
                <a:gd name="connsiteX3" fmla="*/ 1122837 w 1122837"/>
                <a:gd name="connsiteY3" fmla="*/ 58810 h 352853"/>
                <a:gd name="connsiteX4" fmla="*/ 1122837 w 1122837"/>
                <a:gd name="connsiteY4" fmla="*/ 294043 h 352853"/>
                <a:gd name="connsiteX5" fmla="*/ 1064027 w 1122837"/>
                <a:gd name="connsiteY5" fmla="*/ 352853 h 352853"/>
                <a:gd name="connsiteX6" fmla="*/ 58810 w 1122837"/>
                <a:gd name="connsiteY6" fmla="*/ 352853 h 352853"/>
                <a:gd name="connsiteX7" fmla="*/ 0 w 1122837"/>
                <a:gd name="connsiteY7" fmla="*/ 294043 h 352853"/>
                <a:gd name="connsiteX0" fmla="*/ 0 w 1122837"/>
                <a:gd name="connsiteY0" fmla="*/ 294043 h 352853"/>
                <a:gd name="connsiteX1" fmla="*/ 2739 w 1122837"/>
                <a:gd name="connsiteY1" fmla="*/ 0 h 352853"/>
                <a:gd name="connsiteX2" fmla="*/ 1064027 w 1122837"/>
                <a:gd name="connsiteY2" fmla="*/ 0 h 352853"/>
                <a:gd name="connsiteX3" fmla="*/ 1122837 w 1122837"/>
                <a:gd name="connsiteY3" fmla="*/ 58810 h 352853"/>
                <a:gd name="connsiteX4" fmla="*/ 1122837 w 1122837"/>
                <a:gd name="connsiteY4" fmla="*/ 294043 h 352853"/>
                <a:gd name="connsiteX5" fmla="*/ 1064027 w 1122837"/>
                <a:gd name="connsiteY5" fmla="*/ 352853 h 352853"/>
                <a:gd name="connsiteX6" fmla="*/ 58810 w 1122837"/>
                <a:gd name="connsiteY6" fmla="*/ 352853 h 352853"/>
                <a:gd name="connsiteX7" fmla="*/ 0 w 1122837"/>
                <a:gd name="connsiteY7" fmla="*/ 294043 h 352853"/>
                <a:gd name="connsiteX0" fmla="*/ 0 w 1122837"/>
                <a:gd name="connsiteY0" fmla="*/ 294043 h 352853"/>
                <a:gd name="connsiteX1" fmla="*/ 2739 w 1122837"/>
                <a:gd name="connsiteY1" fmla="*/ 0 h 352853"/>
                <a:gd name="connsiteX2" fmla="*/ 1064027 w 1122837"/>
                <a:gd name="connsiteY2" fmla="*/ 0 h 352853"/>
                <a:gd name="connsiteX3" fmla="*/ 1122837 w 1122837"/>
                <a:gd name="connsiteY3" fmla="*/ 58810 h 352853"/>
                <a:gd name="connsiteX4" fmla="*/ 1122837 w 1122837"/>
                <a:gd name="connsiteY4" fmla="*/ 294043 h 352853"/>
                <a:gd name="connsiteX5" fmla="*/ 1064027 w 1122837"/>
                <a:gd name="connsiteY5" fmla="*/ 352853 h 352853"/>
                <a:gd name="connsiteX6" fmla="*/ 45813 w 1122837"/>
                <a:gd name="connsiteY6" fmla="*/ 350519 h 352853"/>
                <a:gd name="connsiteX7" fmla="*/ 0 w 1122837"/>
                <a:gd name="connsiteY7" fmla="*/ 294043 h 352853"/>
                <a:gd name="connsiteX0" fmla="*/ 0 w 1122837"/>
                <a:gd name="connsiteY0" fmla="*/ 294043 h 350519"/>
                <a:gd name="connsiteX1" fmla="*/ 2739 w 1122837"/>
                <a:gd name="connsiteY1" fmla="*/ 0 h 350519"/>
                <a:gd name="connsiteX2" fmla="*/ 1064027 w 1122837"/>
                <a:gd name="connsiteY2" fmla="*/ 0 h 350519"/>
                <a:gd name="connsiteX3" fmla="*/ 1122837 w 1122837"/>
                <a:gd name="connsiteY3" fmla="*/ 58810 h 350519"/>
                <a:gd name="connsiteX4" fmla="*/ 1122837 w 1122837"/>
                <a:gd name="connsiteY4" fmla="*/ 294043 h 350519"/>
                <a:gd name="connsiteX5" fmla="*/ 1082594 w 1122837"/>
                <a:gd name="connsiteY5" fmla="*/ 350519 h 350519"/>
                <a:gd name="connsiteX6" fmla="*/ 45813 w 1122837"/>
                <a:gd name="connsiteY6" fmla="*/ 350519 h 350519"/>
                <a:gd name="connsiteX7" fmla="*/ 0 w 1122837"/>
                <a:gd name="connsiteY7" fmla="*/ 294043 h 350519"/>
                <a:gd name="connsiteX0" fmla="*/ 0 w 1122837"/>
                <a:gd name="connsiteY0" fmla="*/ 294043 h 350519"/>
                <a:gd name="connsiteX1" fmla="*/ 2739 w 1122837"/>
                <a:gd name="connsiteY1" fmla="*/ 0 h 350519"/>
                <a:gd name="connsiteX2" fmla="*/ 1082595 w 1122837"/>
                <a:gd name="connsiteY2" fmla="*/ 0 h 350519"/>
                <a:gd name="connsiteX3" fmla="*/ 1122837 w 1122837"/>
                <a:gd name="connsiteY3" fmla="*/ 58810 h 350519"/>
                <a:gd name="connsiteX4" fmla="*/ 1122837 w 1122837"/>
                <a:gd name="connsiteY4" fmla="*/ 294043 h 350519"/>
                <a:gd name="connsiteX5" fmla="*/ 1082594 w 1122837"/>
                <a:gd name="connsiteY5" fmla="*/ 350519 h 350519"/>
                <a:gd name="connsiteX6" fmla="*/ 45813 w 1122837"/>
                <a:gd name="connsiteY6" fmla="*/ 350519 h 350519"/>
                <a:gd name="connsiteX7" fmla="*/ 0 w 1122837"/>
                <a:gd name="connsiteY7" fmla="*/ 294043 h 350519"/>
                <a:gd name="connsiteX0" fmla="*/ 0 w 1122837"/>
                <a:gd name="connsiteY0" fmla="*/ 294043 h 350519"/>
                <a:gd name="connsiteX1" fmla="*/ 2739 w 1122837"/>
                <a:gd name="connsiteY1" fmla="*/ 0 h 350519"/>
                <a:gd name="connsiteX2" fmla="*/ 1082595 w 1122837"/>
                <a:gd name="connsiteY2" fmla="*/ 0 h 350519"/>
                <a:gd name="connsiteX3" fmla="*/ 1122837 w 1122837"/>
                <a:gd name="connsiteY3" fmla="*/ 58810 h 350519"/>
                <a:gd name="connsiteX4" fmla="*/ 1122837 w 1122837"/>
                <a:gd name="connsiteY4" fmla="*/ 294043 h 350519"/>
                <a:gd name="connsiteX5" fmla="*/ 1082594 w 1122837"/>
                <a:gd name="connsiteY5" fmla="*/ 350519 h 350519"/>
                <a:gd name="connsiteX6" fmla="*/ 40244 w 1122837"/>
                <a:gd name="connsiteY6" fmla="*/ 350519 h 350519"/>
                <a:gd name="connsiteX7" fmla="*/ 0 w 1122837"/>
                <a:gd name="connsiteY7" fmla="*/ 294043 h 350519"/>
                <a:gd name="connsiteX0" fmla="*/ 0 w 1122837"/>
                <a:gd name="connsiteY0" fmla="*/ 294043 h 350519"/>
                <a:gd name="connsiteX1" fmla="*/ 2739 w 1122837"/>
                <a:gd name="connsiteY1" fmla="*/ 0 h 350519"/>
                <a:gd name="connsiteX2" fmla="*/ 1082595 w 1122837"/>
                <a:gd name="connsiteY2" fmla="*/ 0 h 350519"/>
                <a:gd name="connsiteX3" fmla="*/ 1122837 w 1122837"/>
                <a:gd name="connsiteY3" fmla="*/ 58810 h 350519"/>
                <a:gd name="connsiteX4" fmla="*/ 1122837 w 1122837"/>
                <a:gd name="connsiteY4" fmla="*/ 294043 h 350519"/>
                <a:gd name="connsiteX5" fmla="*/ 1088164 w 1122837"/>
                <a:gd name="connsiteY5" fmla="*/ 350519 h 350519"/>
                <a:gd name="connsiteX6" fmla="*/ 40244 w 1122837"/>
                <a:gd name="connsiteY6" fmla="*/ 350519 h 350519"/>
                <a:gd name="connsiteX7" fmla="*/ 0 w 1122837"/>
                <a:gd name="connsiteY7" fmla="*/ 294043 h 350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22837" h="350519">
                  <a:moveTo>
                    <a:pt x="0" y="294043"/>
                  </a:moveTo>
                  <a:lnTo>
                    <a:pt x="2739" y="0"/>
                  </a:lnTo>
                  <a:lnTo>
                    <a:pt x="1082595" y="0"/>
                  </a:lnTo>
                  <a:cubicBezTo>
                    <a:pt x="1115075" y="0"/>
                    <a:pt x="1122837" y="26330"/>
                    <a:pt x="1122837" y="58810"/>
                  </a:cubicBezTo>
                  <a:lnTo>
                    <a:pt x="1122837" y="294043"/>
                  </a:lnTo>
                  <a:cubicBezTo>
                    <a:pt x="1122837" y="326523"/>
                    <a:pt x="1120644" y="350519"/>
                    <a:pt x="1088164" y="350519"/>
                  </a:cubicBezTo>
                  <a:lnTo>
                    <a:pt x="40244" y="350519"/>
                  </a:lnTo>
                  <a:cubicBezTo>
                    <a:pt x="7764" y="350519"/>
                    <a:pt x="0" y="326523"/>
                    <a:pt x="0" y="294043"/>
                  </a:cubicBezTo>
                  <a:close/>
                </a:path>
              </a:pathLst>
            </a:cu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wrap="none" lIns="72000" tIns="36000" rIns="72000" bIns="36000" rtlCol="0" anchor="ctr">
              <a:spAutoFit/>
            </a:bodyPr>
            <a:lstStyle>
              <a:defPPr>
                <a:defRPr lang="de-DE"/>
              </a:defPPr>
              <a:lvl1pPr algn="l" defTabSz="457200" rtl="0" eaLnBrk="0" fontAlgn="base" hangingPunct="0">
                <a:spcBef>
                  <a:spcPct val="0"/>
                </a:spcBef>
                <a:spcAft>
                  <a:spcPct val="0"/>
                </a:spcAft>
                <a:defRPr kern="1200">
                  <a:solidFill>
                    <a:schemeClr val="lt1"/>
                  </a:solidFill>
                  <a:latin typeface="+mn-lt"/>
                  <a:ea typeface="+mn-ea"/>
                  <a:cs typeface="+mn-cs"/>
                </a:defRPr>
              </a:lvl1pPr>
              <a:lvl2pPr marL="457200" algn="l" defTabSz="457200" rtl="0" eaLnBrk="0" fontAlgn="base" hangingPunct="0">
                <a:spcBef>
                  <a:spcPct val="0"/>
                </a:spcBef>
                <a:spcAft>
                  <a:spcPct val="0"/>
                </a:spcAft>
                <a:defRPr kern="1200">
                  <a:solidFill>
                    <a:schemeClr val="lt1"/>
                  </a:solidFill>
                  <a:latin typeface="+mn-lt"/>
                  <a:ea typeface="+mn-ea"/>
                  <a:cs typeface="+mn-cs"/>
                </a:defRPr>
              </a:lvl2pPr>
              <a:lvl3pPr marL="914400" algn="l" defTabSz="457200" rtl="0" eaLnBrk="0" fontAlgn="base" hangingPunct="0">
                <a:spcBef>
                  <a:spcPct val="0"/>
                </a:spcBef>
                <a:spcAft>
                  <a:spcPct val="0"/>
                </a:spcAft>
                <a:defRPr kern="1200">
                  <a:solidFill>
                    <a:schemeClr val="lt1"/>
                  </a:solidFill>
                  <a:latin typeface="+mn-lt"/>
                  <a:ea typeface="+mn-ea"/>
                  <a:cs typeface="+mn-cs"/>
                </a:defRPr>
              </a:lvl3pPr>
              <a:lvl4pPr marL="1371600" algn="l" defTabSz="457200" rtl="0" eaLnBrk="0" fontAlgn="base" hangingPunct="0">
                <a:spcBef>
                  <a:spcPct val="0"/>
                </a:spcBef>
                <a:spcAft>
                  <a:spcPct val="0"/>
                </a:spcAft>
                <a:defRPr kern="1200">
                  <a:solidFill>
                    <a:schemeClr val="lt1"/>
                  </a:solidFill>
                  <a:latin typeface="+mn-lt"/>
                  <a:ea typeface="+mn-ea"/>
                  <a:cs typeface="+mn-cs"/>
                </a:defRPr>
              </a:lvl4pPr>
              <a:lvl5pPr marL="1828800" algn="l" defTabSz="457200"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r>
                <a:rPr lang="de-DE" sz="1600" b="1" dirty="0"/>
                <a:t>Arbeitnehmer</a:t>
              </a:r>
            </a:p>
          </p:txBody>
        </p:sp>
        <p:cxnSp>
          <p:nvCxnSpPr>
            <p:cNvPr id="39" name="Gerade Verbindung mit Pfeil 38"/>
            <p:cNvCxnSpPr/>
            <p:nvPr/>
          </p:nvCxnSpPr>
          <p:spPr>
            <a:xfrm rot="16200000" flipV="1">
              <a:off x="5911172" y="3972976"/>
              <a:ext cx="1260000" cy="0"/>
            </a:xfrm>
            <a:prstGeom prst="straightConnector1">
              <a:avLst/>
            </a:prstGeom>
            <a:ln>
              <a:solidFill>
                <a:schemeClr val="accent5"/>
              </a:solidFill>
              <a:tailEnd type="triangle" w="lg" len="med"/>
            </a:ln>
            <a:effectLst/>
          </p:spPr>
          <p:style>
            <a:lnRef idx="2">
              <a:schemeClr val="accent1"/>
            </a:lnRef>
            <a:fillRef idx="0">
              <a:schemeClr val="accent1"/>
            </a:fillRef>
            <a:effectRef idx="1">
              <a:schemeClr val="accent1"/>
            </a:effectRef>
            <a:fontRef idx="minor">
              <a:schemeClr val="tx1"/>
            </a:fontRef>
          </p:style>
        </p:cxnSp>
        <p:sp>
          <p:nvSpPr>
            <p:cNvPr id="40" name="Abgerundetes Rechteck 7"/>
            <p:cNvSpPr/>
            <p:nvPr/>
          </p:nvSpPr>
          <p:spPr bwMode="auto">
            <a:xfrm>
              <a:off x="1767147" y="4388194"/>
              <a:ext cx="5076000" cy="360000"/>
            </a:xfrm>
            <a:custGeom>
              <a:avLst/>
              <a:gdLst>
                <a:gd name="connsiteX0" fmla="*/ 0 w 3528000"/>
                <a:gd name="connsiteY0" fmla="*/ 60001 h 360000"/>
                <a:gd name="connsiteX1" fmla="*/ 60001 w 3528000"/>
                <a:gd name="connsiteY1" fmla="*/ 0 h 360000"/>
                <a:gd name="connsiteX2" fmla="*/ 3467999 w 3528000"/>
                <a:gd name="connsiteY2" fmla="*/ 0 h 360000"/>
                <a:gd name="connsiteX3" fmla="*/ 3528000 w 3528000"/>
                <a:gd name="connsiteY3" fmla="*/ 60001 h 360000"/>
                <a:gd name="connsiteX4" fmla="*/ 3528000 w 3528000"/>
                <a:gd name="connsiteY4" fmla="*/ 299999 h 360000"/>
                <a:gd name="connsiteX5" fmla="*/ 3467999 w 3528000"/>
                <a:gd name="connsiteY5" fmla="*/ 360000 h 360000"/>
                <a:gd name="connsiteX6" fmla="*/ 60001 w 3528000"/>
                <a:gd name="connsiteY6" fmla="*/ 360000 h 360000"/>
                <a:gd name="connsiteX7" fmla="*/ 0 w 3528000"/>
                <a:gd name="connsiteY7" fmla="*/ 299999 h 360000"/>
                <a:gd name="connsiteX8" fmla="*/ 0 w 3528000"/>
                <a:gd name="connsiteY8" fmla="*/ 60001 h 360000"/>
                <a:gd name="connsiteX0" fmla="*/ 0 w 3528000"/>
                <a:gd name="connsiteY0" fmla="*/ 60001 h 360000"/>
                <a:gd name="connsiteX1" fmla="*/ 3467999 w 3528000"/>
                <a:gd name="connsiteY1" fmla="*/ 0 h 360000"/>
                <a:gd name="connsiteX2" fmla="*/ 3528000 w 3528000"/>
                <a:gd name="connsiteY2" fmla="*/ 60001 h 360000"/>
                <a:gd name="connsiteX3" fmla="*/ 3528000 w 3528000"/>
                <a:gd name="connsiteY3" fmla="*/ 299999 h 360000"/>
                <a:gd name="connsiteX4" fmla="*/ 3467999 w 3528000"/>
                <a:gd name="connsiteY4" fmla="*/ 360000 h 360000"/>
                <a:gd name="connsiteX5" fmla="*/ 60001 w 3528000"/>
                <a:gd name="connsiteY5" fmla="*/ 360000 h 360000"/>
                <a:gd name="connsiteX6" fmla="*/ 0 w 3528000"/>
                <a:gd name="connsiteY6" fmla="*/ 299999 h 360000"/>
                <a:gd name="connsiteX7" fmla="*/ 0 w 3528000"/>
                <a:gd name="connsiteY7" fmla="*/ 60001 h 360000"/>
                <a:gd name="connsiteX0" fmla="*/ 0 w 3528000"/>
                <a:gd name="connsiteY0" fmla="*/ 60001 h 360000"/>
                <a:gd name="connsiteX1" fmla="*/ 3467999 w 3528000"/>
                <a:gd name="connsiteY1" fmla="*/ 0 h 360000"/>
                <a:gd name="connsiteX2" fmla="*/ 3528000 w 3528000"/>
                <a:gd name="connsiteY2" fmla="*/ 60001 h 360000"/>
                <a:gd name="connsiteX3" fmla="*/ 3528000 w 3528000"/>
                <a:gd name="connsiteY3" fmla="*/ 299999 h 360000"/>
                <a:gd name="connsiteX4" fmla="*/ 3467999 w 3528000"/>
                <a:gd name="connsiteY4" fmla="*/ 360000 h 360000"/>
                <a:gd name="connsiteX5" fmla="*/ 60001 w 3528000"/>
                <a:gd name="connsiteY5" fmla="*/ 360000 h 360000"/>
                <a:gd name="connsiteX6" fmla="*/ 0 w 3528000"/>
                <a:gd name="connsiteY6" fmla="*/ 299999 h 360000"/>
                <a:gd name="connsiteX7" fmla="*/ 0 w 3528000"/>
                <a:gd name="connsiteY7" fmla="*/ 60001 h 360000"/>
                <a:gd name="connsiteX0" fmla="*/ 4763 w 3528000"/>
                <a:gd name="connsiteY0" fmla="*/ 0 h 361911"/>
                <a:gd name="connsiteX1" fmla="*/ 3467999 w 3528000"/>
                <a:gd name="connsiteY1" fmla="*/ 1911 h 361911"/>
                <a:gd name="connsiteX2" fmla="*/ 3528000 w 3528000"/>
                <a:gd name="connsiteY2" fmla="*/ 61912 h 361911"/>
                <a:gd name="connsiteX3" fmla="*/ 3528000 w 3528000"/>
                <a:gd name="connsiteY3" fmla="*/ 301910 h 361911"/>
                <a:gd name="connsiteX4" fmla="*/ 3467999 w 3528000"/>
                <a:gd name="connsiteY4" fmla="*/ 361911 h 361911"/>
                <a:gd name="connsiteX5" fmla="*/ 60001 w 3528000"/>
                <a:gd name="connsiteY5" fmla="*/ 361911 h 361911"/>
                <a:gd name="connsiteX6" fmla="*/ 0 w 3528000"/>
                <a:gd name="connsiteY6" fmla="*/ 301910 h 361911"/>
                <a:gd name="connsiteX7" fmla="*/ 4763 w 3528000"/>
                <a:gd name="connsiteY7" fmla="*/ 0 h 361911"/>
                <a:gd name="connsiteX0" fmla="*/ 4763 w 3528000"/>
                <a:gd name="connsiteY0" fmla="*/ 0 h 361911"/>
                <a:gd name="connsiteX1" fmla="*/ 3467999 w 3528000"/>
                <a:gd name="connsiteY1" fmla="*/ 1911 h 361911"/>
                <a:gd name="connsiteX2" fmla="*/ 3528000 w 3528000"/>
                <a:gd name="connsiteY2" fmla="*/ 61912 h 361911"/>
                <a:gd name="connsiteX3" fmla="*/ 3528000 w 3528000"/>
                <a:gd name="connsiteY3" fmla="*/ 301910 h 361911"/>
                <a:gd name="connsiteX4" fmla="*/ 3467999 w 3528000"/>
                <a:gd name="connsiteY4" fmla="*/ 361911 h 361911"/>
                <a:gd name="connsiteX5" fmla="*/ 44444 w 3528000"/>
                <a:gd name="connsiteY5" fmla="*/ 359128 h 361911"/>
                <a:gd name="connsiteX6" fmla="*/ 0 w 3528000"/>
                <a:gd name="connsiteY6" fmla="*/ 301910 h 361911"/>
                <a:gd name="connsiteX7" fmla="*/ 4763 w 3528000"/>
                <a:gd name="connsiteY7" fmla="*/ 0 h 361911"/>
                <a:gd name="connsiteX0" fmla="*/ 4763 w 3528000"/>
                <a:gd name="connsiteY0" fmla="*/ 0 h 361911"/>
                <a:gd name="connsiteX1" fmla="*/ 3487446 w 3528000"/>
                <a:gd name="connsiteY1" fmla="*/ 1911 h 361911"/>
                <a:gd name="connsiteX2" fmla="*/ 3528000 w 3528000"/>
                <a:gd name="connsiteY2" fmla="*/ 61912 h 361911"/>
                <a:gd name="connsiteX3" fmla="*/ 3528000 w 3528000"/>
                <a:gd name="connsiteY3" fmla="*/ 301910 h 361911"/>
                <a:gd name="connsiteX4" fmla="*/ 3467999 w 3528000"/>
                <a:gd name="connsiteY4" fmla="*/ 361911 h 361911"/>
                <a:gd name="connsiteX5" fmla="*/ 44444 w 3528000"/>
                <a:gd name="connsiteY5" fmla="*/ 359128 h 361911"/>
                <a:gd name="connsiteX6" fmla="*/ 0 w 3528000"/>
                <a:gd name="connsiteY6" fmla="*/ 301910 h 361911"/>
                <a:gd name="connsiteX7" fmla="*/ 4763 w 3528000"/>
                <a:gd name="connsiteY7" fmla="*/ 0 h 361911"/>
                <a:gd name="connsiteX0" fmla="*/ 4763 w 3528000"/>
                <a:gd name="connsiteY0" fmla="*/ 0 h 361911"/>
                <a:gd name="connsiteX1" fmla="*/ 3487446 w 3528000"/>
                <a:gd name="connsiteY1" fmla="*/ 1911 h 361911"/>
                <a:gd name="connsiteX2" fmla="*/ 3528000 w 3528000"/>
                <a:gd name="connsiteY2" fmla="*/ 61912 h 361911"/>
                <a:gd name="connsiteX3" fmla="*/ 3528000 w 3528000"/>
                <a:gd name="connsiteY3" fmla="*/ 301910 h 361911"/>
                <a:gd name="connsiteX4" fmla="*/ 3489390 w 3528000"/>
                <a:gd name="connsiteY4" fmla="*/ 361911 h 361911"/>
                <a:gd name="connsiteX5" fmla="*/ 44444 w 3528000"/>
                <a:gd name="connsiteY5" fmla="*/ 359128 h 361911"/>
                <a:gd name="connsiteX6" fmla="*/ 0 w 3528000"/>
                <a:gd name="connsiteY6" fmla="*/ 301910 h 361911"/>
                <a:gd name="connsiteX7" fmla="*/ 4763 w 3528000"/>
                <a:gd name="connsiteY7" fmla="*/ 0 h 361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28000" h="361911">
                  <a:moveTo>
                    <a:pt x="4763" y="0"/>
                  </a:moveTo>
                  <a:lnTo>
                    <a:pt x="3487446" y="1911"/>
                  </a:lnTo>
                  <a:cubicBezTo>
                    <a:pt x="3520584" y="1911"/>
                    <a:pt x="3528000" y="28774"/>
                    <a:pt x="3528000" y="61912"/>
                  </a:cubicBezTo>
                  <a:lnTo>
                    <a:pt x="3528000" y="301910"/>
                  </a:lnTo>
                  <a:cubicBezTo>
                    <a:pt x="3528000" y="335048"/>
                    <a:pt x="3522528" y="361911"/>
                    <a:pt x="3489390" y="361911"/>
                  </a:cubicBezTo>
                  <a:lnTo>
                    <a:pt x="44444" y="359128"/>
                  </a:lnTo>
                  <a:cubicBezTo>
                    <a:pt x="11306" y="359128"/>
                    <a:pt x="0" y="335048"/>
                    <a:pt x="0" y="301910"/>
                  </a:cubicBezTo>
                  <a:cubicBezTo>
                    <a:pt x="1588" y="201273"/>
                    <a:pt x="3175" y="100637"/>
                    <a:pt x="4763" y="0"/>
                  </a:cubicBezTo>
                  <a:close/>
                </a:path>
              </a:pathLst>
            </a:custGeom>
            <a:solidFill>
              <a:schemeClr val="accent5"/>
            </a:solidFill>
            <a:ln w="19050">
              <a:noFill/>
            </a:ln>
            <a:effectLst/>
          </p:spPr>
          <p:style>
            <a:lnRef idx="1">
              <a:schemeClr val="accent1"/>
            </a:lnRef>
            <a:fillRef idx="3">
              <a:schemeClr val="accent1"/>
            </a:fillRef>
            <a:effectRef idx="2">
              <a:schemeClr val="accent1"/>
            </a:effectRef>
            <a:fontRef idx="minor">
              <a:schemeClr val="lt1"/>
            </a:fontRef>
          </p:style>
          <p:txBody>
            <a:bodyPr lIns="108000" tIns="36000" rIns="108000" bIns="36000" anchor="ctr"/>
            <a:lstStyle/>
            <a:p>
              <a:pPr algn="ctr" eaLnBrk="1" fontAlgn="auto" hangingPunct="1">
                <a:spcBef>
                  <a:spcPts val="0"/>
                </a:spcBef>
                <a:spcAft>
                  <a:spcPts val="0"/>
                </a:spcAft>
                <a:tabLst>
                  <a:tab pos="3309938" algn="r"/>
                </a:tabLst>
                <a:defRPr/>
              </a:pPr>
              <a:r>
                <a:rPr lang="de-DE" sz="1600" b="1" dirty="0">
                  <a:solidFill>
                    <a:srgbClr val="FFFFFF"/>
                  </a:solidFill>
                </a:rPr>
                <a:t>Direktversicherung</a:t>
              </a:r>
            </a:p>
          </p:txBody>
        </p:sp>
      </p:grpSp>
    </p:spTree>
    <p:extLst>
      <p:ext uri="{BB962C8B-B14F-4D97-AF65-F5344CB8AC3E}">
        <p14:creationId xmlns:p14="http://schemas.microsoft.com/office/powerpoint/2010/main" val="340715606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811701"/>
            <a:ext cx="9144000" cy="6046299"/>
          </a:xfrm>
          <a:prstGeom prst="rect">
            <a:avLst/>
          </a:prstGeom>
        </p:spPr>
      </p:pic>
      <p:sp>
        <p:nvSpPr>
          <p:cNvPr id="4" name="Abgerundetes Rechteck 24"/>
          <p:cNvSpPr/>
          <p:nvPr/>
        </p:nvSpPr>
        <p:spPr>
          <a:xfrm>
            <a:off x="647095" y="4840181"/>
            <a:ext cx="415347" cy="409710"/>
          </a:xfrm>
          <a:custGeom>
            <a:avLst/>
            <a:gdLst>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415087 w 415087"/>
              <a:gd name="connsiteY2" fmla="*/ 112132 h 414000"/>
              <a:gd name="connsiteX3" fmla="*/ 415087 w 415087"/>
              <a:gd name="connsiteY3" fmla="*/ 301868 h 414000"/>
              <a:gd name="connsiteX4" fmla="*/ 302955 w 415087"/>
              <a:gd name="connsiteY4" fmla="*/ 414000 h 414000"/>
              <a:gd name="connsiteX5" fmla="*/ 112132 w 415087"/>
              <a:gd name="connsiteY5" fmla="*/ 414000 h 414000"/>
              <a:gd name="connsiteX6" fmla="*/ 0 w 415087"/>
              <a:gd name="connsiteY6" fmla="*/ 301868 h 414000"/>
              <a:gd name="connsiteX7" fmla="*/ 0 w 415087"/>
              <a:gd name="connsiteY7" fmla="*/ 112132 h 414000"/>
              <a:gd name="connsiteX0" fmla="*/ 0 w 417243"/>
              <a:gd name="connsiteY0" fmla="*/ 112132 h 414000"/>
              <a:gd name="connsiteX1" fmla="*/ 112132 w 417243"/>
              <a:gd name="connsiteY1" fmla="*/ 0 h 414000"/>
              <a:gd name="connsiteX2" fmla="*/ 417243 w 417243"/>
              <a:gd name="connsiteY2" fmla="*/ 4301 h 414000"/>
              <a:gd name="connsiteX3" fmla="*/ 415087 w 417243"/>
              <a:gd name="connsiteY3" fmla="*/ 301868 h 414000"/>
              <a:gd name="connsiteX4" fmla="*/ 302955 w 417243"/>
              <a:gd name="connsiteY4" fmla="*/ 414000 h 414000"/>
              <a:gd name="connsiteX5" fmla="*/ 112132 w 417243"/>
              <a:gd name="connsiteY5" fmla="*/ 414000 h 414000"/>
              <a:gd name="connsiteX6" fmla="*/ 0 w 417243"/>
              <a:gd name="connsiteY6" fmla="*/ 301868 h 414000"/>
              <a:gd name="connsiteX7" fmla="*/ 0 w 417243"/>
              <a:gd name="connsiteY7" fmla="*/ 112132 h 414000"/>
              <a:gd name="connsiteX0" fmla="*/ 0 w 419399"/>
              <a:gd name="connsiteY0" fmla="*/ 112132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7" fmla="*/ 0 w 419399"/>
              <a:gd name="connsiteY7" fmla="*/ 112132 h 414000"/>
              <a:gd name="connsiteX0" fmla="*/ 0 w 419399"/>
              <a:gd name="connsiteY0" fmla="*/ 112135 h 414003"/>
              <a:gd name="connsiteX1" fmla="*/ 112132 w 419399"/>
              <a:gd name="connsiteY1" fmla="*/ 3 h 414003"/>
              <a:gd name="connsiteX2" fmla="*/ 419399 w 419399"/>
              <a:gd name="connsiteY2" fmla="*/ 2147 h 414003"/>
              <a:gd name="connsiteX3" fmla="*/ 415087 w 419399"/>
              <a:gd name="connsiteY3" fmla="*/ 301871 h 414003"/>
              <a:gd name="connsiteX4" fmla="*/ 302955 w 419399"/>
              <a:gd name="connsiteY4" fmla="*/ 414003 h 414003"/>
              <a:gd name="connsiteX5" fmla="*/ 112132 w 419399"/>
              <a:gd name="connsiteY5" fmla="*/ 414003 h 414003"/>
              <a:gd name="connsiteX6" fmla="*/ 0 w 419399"/>
              <a:gd name="connsiteY6" fmla="*/ 301871 h 414003"/>
              <a:gd name="connsiteX7" fmla="*/ 0 w 419399"/>
              <a:gd name="connsiteY7" fmla="*/ 112135 h 414003"/>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44516"/>
              <a:gd name="connsiteX1" fmla="*/ 112132 w 419399"/>
              <a:gd name="connsiteY1" fmla="*/ 0 h 444516"/>
              <a:gd name="connsiteX2" fmla="*/ 419399 w 419399"/>
              <a:gd name="connsiteY2" fmla="*/ 2144 h 444516"/>
              <a:gd name="connsiteX3" fmla="*/ 415087 w 419399"/>
              <a:gd name="connsiteY3" fmla="*/ 414011 h 444516"/>
              <a:gd name="connsiteX4" fmla="*/ 112132 w 419399"/>
              <a:gd name="connsiteY4" fmla="*/ 414000 h 444516"/>
              <a:gd name="connsiteX5" fmla="*/ 0 w 419399"/>
              <a:gd name="connsiteY5" fmla="*/ 301868 h 444516"/>
              <a:gd name="connsiteX0" fmla="*/ 0 w 419399"/>
              <a:gd name="connsiteY0" fmla="*/ 301868 h 414011"/>
              <a:gd name="connsiteX1" fmla="*/ 112132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4325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299724 h 411867"/>
              <a:gd name="connsiteX1" fmla="*/ 2146 w 419399"/>
              <a:gd name="connsiteY1" fmla="*/ 2169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301868 h 414011"/>
              <a:gd name="connsiteX1" fmla="*/ 2146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2170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5347"/>
              <a:gd name="connsiteY0" fmla="*/ 297567 h 409710"/>
              <a:gd name="connsiteX1" fmla="*/ 2146 w 415347"/>
              <a:gd name="connsiteY1" fmla="*/ 13 h 409710"/>
              <a:gd name="connsiteX2" fmla="*/ 412929 w 415347"/>
              <a:gd name="connsiteY2" fmla="*/ 0 h 409710"/>
              <a:gd name="connsiteX3" fmla="*/ 415087 w 415347"/>
              <a:gd name="connsiteY3" fmla="*/ 409710 h 409710"/>
              <a:gd name="connsiteX4" fmla="*/ 112132 w 415347"/>
              <a:gd name="connsiteY4" fmla="*/ 409699 h 409710"/>
              <a:gd name="connsiteX5" fmla="*/ 0 w 415347"/>
              <a:gd name="connsiteY5" fmla="*/ 297567 h 40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347" h="409710">
                <a:moveTo>
                  <a:pt x="0" y="297567"/>
                </a:moveTo>
                <a:cubicBezTo>
                  <a:pt x="715" y="199101"/>
                  <a:pt x="1431" y="98479"/>
                  <a:pt x="2146" y="13"/>
                </a:cubicBezTo>
                <a:lnTo>
                  <a:pt x="412929" y="0"/>
                </a:lnTo>
                <a:cubicBezTo>
                  <a:pt x="411492" y="137289"/>
                  <a:pt x="416524" y="272421"/>
                  <a:pt x="415087" y="409710"/>
                </a:cubicBezTo>
                <a:lnTo>
                  <a:pt x="112132" y="409699"/>
                </a:lnTo>
                <a:cubicBezTo>
                  <a:pt x="50203" y="409699"/>
                  <a:pt x="0" y="359496"/>
                  <a:pt x="0" y="297567"/>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de-DE" b="1" dirty="0"/>
          </a:p>
        </p:txBody>
      </p:sp>
      <p:sp>
        <p:nvSpPr>
          <p:cNvPr id="6" name="Textplatzhalter 5"/>
          <p:cNvSpPr>
            <a:spLocks noGrp="1"/>
          </p:cNvSpPr>
          <p:nvPr>
            <p:ph type="body" sz="quarter" idx="10"/>
          </p:nvPr>
        </p:nvSpPr>
        <p:spPr/>
        <p:txBody>
          <a:bodyPr/>
          <a:lstStyle/>
          <a:p>
            <a:r>
              <a:rPr lang="de-DE" dirty="0"/>
              <a:t>6.</a:t>
            </a:r>
          </a:p>
        </p:txBody>
      </p:sp>
      <p:sp>
        <p:nvSpPr>
          <p:cNvPr id="5" name="Abgerundetes Rechteck 18"/>
          <p:cNvSpPr/>
          <p:nvPr/>
        </p:nvSpPr>
        <p:spPr>
          <a:xfrm>
            <a:off x="1104814" y="4840181"/>
            <a:ext cx="6920249" cy="819192"/>
          </a:xfrm>
          <a:custGeom>
            <a:avLst/>
            <a:gdLst>
              <a:gd name="connsiteX0" fmla="*/ 0 w 6920249"/>
              <a:gd name="connsiteY0" fmla="*/ 136056 h 816317"/>
              <a:gd name="connsiteX1" fmla="*/ 136056 w 6920249"/>
              <a:gd name="connsiteY1" fmla="*/ 0 h 816317"/>
              <a:gd name="connsiteX2" fmla="*/ 6784193 w 6920249"/>
              <a:gd name="connsiteY2" fmla="*/ 0 h 816317"/>
              <a:gd name="connsiteX3" fmla="*/ 6920249 w 6920249"/>
              <a:gd name="connsiteY3" fmla="*/ 136056 h 816317"/>
              <a:gd name="connsiteX4" fmla="*/ 6920249 w 6920249"/>
              <a:gd name="connsiteY4" fmla="*/ 680261 h 816317"/>
              <a:gd name="connsiteX5" fmla="*/ 6784193 w 6920249"/>
              <a:gd name="connsiteY5" fmla="*/ 816317 h 816317"/>
              <a:gd name="connsiteX6" fmla="*/ 136056 w 6920249"/>
              <a:gd name="connsiteY6" fmla="*/ 816317 h 816317"/>
              <a:gd name="connsiteX7" fmla="*/ 0 w 6920249"/>
              <a:gd name="connsiteY7" fmla="*/ 680261 h 816317"/>
              <a:gd name="connsiteX8" fmla="*/ 0 w 6920249"/>
              <a:gd name="connsiteY8" fmla="*/ 136056 h 816317"/>
              <a:gd name="connsiteX0" fmla="*/ 0 w 6920249"/>
              <a:gd name="connsiteY0" fmla="*/ 680261 h 816317"/>
              <a:gd name="connsiteX1" fmla="*/ 136056 w 6920249"/>
              <a:gd name="connsiteY1" fmla="*/ 0 h 816317"/>
              <a:gd name="connsiteX2" fmla="*/ 6784193 w 6920249"/>
              <a:gd name="connsiteY2" fmla="*/ 0 h 816317"/>
              <a:gd name="connsiteX3" fmla="*/ 6920249 w 6920249"/>
              <a:gd name="connsiteY3" fmla="*/ 136056 h 816317"/>
              <a:gd name="connsiteX4" fmla="*/ 6920249 w 6920249"/>
              <a:gd name="connsiteY4" fmla="*/ 680261 h 816317"/>
              <a:gd name="connsiteX5" fmla="*/ 6784193 w 6920249"/>
              <a:gd name="connsiteY5" fmla="*/ 816317 h 816317"/>
              <a:gd name="connsiteX6" fmla="*/ 136056 w 6920249"/>
              <a:gd name="connsiteY6" fmla="*/ 816317 h 816317"/>
              <a:gd name="connsiteX7" fmla="*/ 0 w 6920249"/>
              <a:gd name="connsiteY7" fmla="*/ 680261 h 816317"/>
              <a:gd name="connsiteX0" fmla="*/ 0 w 6920249"/>
              <a:gd name="connsiteY0" fmla="*/ 683136 h 819192"/>
              <a:gd name="connsiteX1" fmla="*/ 6660 w 6920249"/>
              <a:gd name="connsiteY1" fmla="*/ 0 h 819192"/>
              <a:gd name="connsiteX2" fmla="*/ 6784193 w 6920249"/>
              <a:gd name="connsiteY2" fmla="*/ 2875 h 819192"/>
              <a:gd name="connsiteX3" fmla="*/ 6920249 w 6920249"/>
              <a:gd name="connsiteY3" fmla="*/ 138931 h 819192"/>
              <a:gd name="connsiteX4" fmla="*/ 6920249 w 6920249"/>
              <a:gd name="connsiteY4" fmla="*/ 683136 h 819192"/>
              <a:gd name="connsiteX5" fmla="*/ 6784193 w 6920249"/>
              <a:gd name="connsiteY5" fmla="*/ 819192 h 819192"/>
              <a:gd name="connsiteX6" fmla="*/ 136056 w 6920249"/>
              <a:gd name="connsiteY6" fmla="*/ 819192 h 819192"/>
              <a:gd name="connsiteX7" fmla="*/ 0 w 6920249"/>
              <a:gd name="connsiteY7" fmla="*/ 683136 h 819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20249" h="819192">
                <a:moveTo>
                  <a:pt x="0" y="683136"/>
                </a:moveTo>
                <a:lnTo>
                  <a:pt x="6660" y="0"/>
                </a:lnTo>
                <a:lnTo>
                  <a:pt x="6784193" y="2875"/>
                </a:lnTo>
                <a:cubicBezTo>
                  <a:pt x="6859335" y="2875"/>
                  <a:pt x="6920249" y="63789"/>
                  <a:pt x="6920249" y="138931"/>
                </a:cubicBezTo>
                <a:lnTo>
                  <a:pt x="6920249" y="683136"/>
                </a:lnTo>
                <a:cubicBezTo>
                  <a:pt x="6920249" y="758278"/>
                  <a:pt x="6859335" y="819192"/>
                  <a:pt x="6784193" y="819192"/>
                </a:cubicBezTo>
                <a:lnTo>
                  <a:pt x="136056" y="819192"/>
                </a:lnTo>
                <a:cubicBezTo>
                  <a:pt x="60914" y="819192"/>
                  <a:pt x="0" y="758278"/>
                  <a:pt x="0" y="683136"/>
                </a:cubicBezTo>
                <a:close/>
              </a:path>
            </a:pathLst>
          </a:custGeom>
          <a:solidFill>
            <a:schemeClr val="bg1">
              <a:alpha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Titel 2"/>
          <p:cNvSpPr>
            <a:spLocks noGrp="1"/>
          </p:cNvSpPr>
          <p:nvPr>
            <p:ph type="title"/>
          </p:nvPr>
        </p:nvSpPr>
        <p:spPr/>
        <p:txBody>
          <a:bodyPr/>
          <a:lstStyle/>
          <a:p>
            <a:r>
              <a:rPr lang="de-DE" altLang="de-DE" dirty="0"/>
              <a:t>Die Stuttgarter – Partner für Ihre bAV</a:t>
            </a:r>
            <a:endParaRPr lang="de-DE" dirty="0"/>
          </a:p>
        </p:txBody>
      </p:sp>
    </p:spTree>
    <p:extLst>
      <p:ext uri="{BB962C8B-B14F-4D97-AF65-F5344CB8AC3E}">
        <p14:creationId xmlns:p14="http://schemas.microsoft.com/office/powerpoint/2010/main" val="187781219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a:t>Die Stuttgarter:</a:t>
            </a:r>
            <a:br>
              <a:rPr lang="de-DE" altLang="de-DE"/>
            </a:br>
            <a:r>
              <a:rPr lang="de-DE" altLang="de-DE"/>
              <a:t>Darauf können Sie sich in Zukunft verlassen</a:t>
            </a:r>
            <a:endParaRPr lang="de-DE" dirty="0"/>
          </a:p>
        </p:txBody>
      </p:sp>
      <p:sp>
        <p:nvSpPr>
          <p:cNvPr id="3" name="Textplatzhalter 2"/>
          <p:cNvSpPr>
            <a:spLocks noGrp="1"/>
          </p:cNvSpPr>
          <p:nvPr>
            <p:ph type="body" sz="quarter" idx="17"/>
          </p:nvPr>
        </p:nvSpPr>
        <p:spPr/>
        <p:txBody>
          <a:bodyPr/>
          <a:lstStyle/>
          <a:p>
            <a:pPr lvl="1"/>
            <a:r>
              <a:rPr lang="de-DE" altLang="de-DE"/>
              <a:t>Leistung „Made in Germany</a:t>
            </a:r>
            <a:r>
              <a:rPr lang="de-DE" altLang="ja-JP"/>
              <a:t>“</a:t>
            </a:r>
            <a:r>
              <a:rPr lang="de-DE" altLang="de-DE"/>
              <a:t>: </a:t>
            </a:r>
            <a:br>
              <a:rPr lang="de-DE" altLang="de-DE"/>
            </a:br>
            <a:r>
              <a:rPr lang="de-DE" altLang="de-DE"/>
              <a:t>Die Stuttgarter ist traditionell, </a:t>
            </a:r>
            <a:br>
              <a:rPr lang="de-DE" altLang="de-DE"/>
            </a:br>
            <a:r>
              <a:rPr lang="de-DE" altLang="de-DE"/>
              <a:t>solide und finanzstark.</a:t>
            </a:r>
          </a:p>
          <a:p>
            <a:pPr lvl="1"/>
            <a:r>
              <a:rPr lang="de-DE" altLang="de-DE"/>
              <a:t>Als Versicherungsverein auf Gegenseitigkeit ist Die Stuttgarter </a:t>
            </a:r>
            <a:br>
              <a:rPr lang="de-DE" altLang="de-DE"/>
            </a:br>
            <a:r>
              <a:rPr lang="de-DE" altLang="de-DE"/>
              <a:t>ihren Kunden verpflichtet.</a:t>
            </a:r>
            <a:endParaRPr lang="de-DE" altLang="de-DE" dirty="0"/>
          </a:p>
        </p:txBody>
      </p:sp>
      <p:sp>
        <p:nvSpPr>
          <p:cNvPr id="5" name="Textplatzhalter 4"/>
          <p:cNvSpPr>
            <a:spLocks noGrp="1"/>
          </p:cNvSpPr>
          <p:nvPr>
            <p:ph type="body" sz="quarter" idx="21"/>
          </p:nvPr>
        </p:nvSpPr>
        <p:spPr/>
        <p:txBody>
          <a:bodyPr/>
          <a:lstStyle/>
          <a:p>
            <a:r>
              <a:rPr lang="de-DE" altLang="de-DE"/>
              <a:t>Ihr Arbeitgeber hat sich für einen leistungsstarken bAV-Versicherer entschieden.</a:t>
            </a:r>
            <a:endParaRPr lang="de-DE" altLang="de-DE" dirty="0"/>
          </a:p>
        </p:txBody>
      </p:sp>
      <p:sp>
        <p:nvSpPr>
          <p:cNvPr id="29" name="Textplatzhalter 28"/>
          <p:cNvSpPr>
            <a:spLocks noGrp="1"/>
          </p:cNvSpPr>
          <p:nvPr>
            <p:ph type="body" sz="quarter" idx="24"/>
          </p:nvPr>
        </p:nvSpPr>
        <p:spPr/>
        <p:txBody>
          <a:bodyPr/>
          <a:lstStyle/>
          <a:p>
            <a:r>
              <a:rPr lang="de-DE" altLang="de-DE" dirty="0">
                <a:solidFill>
                  <a:srgbClr val="FF6600"/>
                </a:solidFill>
              </a:rPr>
              <a:t>Die Stuttgarter setzt sich seit über 100 Jahren für die Interessen ihrer Kunden ein: leistungsstark und vertrauenswürdig. </a:t>
            </a:r>
          </a:p>
        </p:txBody>
      </p:sp>
      <p:sp>
        <p:nvSpPr>
          <p:cNvPr id="28" name="Textplatzhalter 27"/>
          <p:cNvSpPr>
            <a:spLocks noGrp="1"/>
          </p:cNvSpPr>
          <p:nvPr>
            <p:ph type="body" sz="quarter" idx="23"/>
          </p:nvPr>
        </p:nvSpPr>
        <p:spPr/>
        <p:txBody>
          <a:bodyPr/>
          <a:lstStyle/>
          <a:p>
            <a:endParaRPr lang="de-DE"/>
          </a:p>
        </p:txBody>
      </p:sp>
      <p:sp>
        <p:nvSpPr>
          <p:cNvPr id="8" name="Textplatzhalter 7"/>
          <p:cNvSpPr>
            <a:spLocks noGrp="1"/>
          </p:cNvSpPr>
          <p:nvPr>
            <p:ph type="body" sz="quarter" idx="18"/>
          </p:nvPr>
        </p:nvSpPr>
        <p:spPr/>
        <p:txBody>
          <a:bodyPr/>
          <a:lstStyle/>
          <a:p>
            <a:r>
              <a:rPr lang="de-DE"/>
              <a:t>6. </a:t>
            </a:r>
            <a:r>
              <a:rPr lang="de-DE" altLang="de-DE"/>
              <a:t>Die Stuttgarter – Partner für Ihre bAV</a:t>
            </a:r>
            <a:endParaRPr lang="de-DE" dirty="0"/>
          </a:p>
        </p:txBody>
      </p:sp>
      <p:sp>
        <p:nvSpPr>
          <p:cNvPr id="9" name="Datumsplatzhalter 8"/>
          <p:cNvSpPr>
            <a:spLocks noGrp="1"/>
          </p:cNvSpPr>
          <p:nvPr>
            <p:ph type="dt" sz="half" idx="25"/>
          </p:nvPr>
        </p:nvSpPr>
        <p:spPr/>
        <p:txBody>
          <a:bodyPr/>
          <a:lstStyle/>
          <a:p>
            <a:r>
              <a:rPr lang="de-DE"/>
              <a:t>01.01.2020</a:t>
            </a:r>
            <a:endParaRPr lang="de-DE" dirty="0"/>
          </a:p>
        </p:txBody>
      </p:sp>
      <p:sp>
        <p:nvSpPr>
          <p:cNvPr id="10" name="Fußzeilenplatzhalter 9"/>
          <p:cNvSpPr>
            <a:spLocks noGrp="1"/>
          </p:cNvSpPr>
          <p:nvPr>
            <p:ph type="ftr" sz="quarter" idx="26"/>
          </p:nvPr>
        </p:nvSpPr>
        <p:spPr/>
        <p:txBody>
          <a:bodyPr/>
          <a:lstStyle/>
          <a:p>
            <a:r>
              <a:rPr lang="de-DE"/>
              <a:t>Präsentation für Arbeitnehmer</a:t>
            </a:r>
            <a:endParaRPr lang="de-DE" dirty="0"/>
          </a:p>
        </p:txBody>
      </p:sp>
      <p:sp>
        <p:nvSpPr>
          <p:cNvPr id="11" name="Foliennummernplatzhalter 10"/>
          <p:cNvSpPr>
            <a:spLocks noGrp="1"/>
          </p:cNvSpPr>
          <p:nvPr>
            <p:ph type="sldNum" sz="quarter" idx="27"/>
          </p:nvPr>
        </p:nvSpPr>
        <p:spPr/>
        <p:txBody>
          <a:bodyPr/>
          <a:lstStyle/>
          <a:p>
            <a:fld id="{BFE8ADF1-837C-463F-9856-54C2D771B21B}" type="slidenum">
              <a:rPr lang="de-DE" smtClean="0"/>
              <a:pPr/>
              <a:t>23</a:t>
            </a:fld>
            <a:endParaRPr lang="de-DE" dirty="0"/>
          </a:p>
        </p:txBody>
      </p:sp>
      <p:grpSp>
        <p:nvGrpSpPr>
          <p:cNvPr id="34" name="Gruppieren 33"/>
          <p:cNvGrpSpPr/>
          <p:nvPr/>
        </p:nvGrpSpPr>
        <p:grpSpPr>
          <a:xfrm>
            <a:off x="4506313" y="2601370"/>
            <a:ext cx="4176000" cy="2666010"/>
            <a:chOff x="4506313" y="2601370"/>
            <a:chExt cx="4176000" cy="2666010"/>
          </a:xfrm>
        </p:grpSpPr>
        <p:pic>
          <p:nvPicPr>
            <p:cNvPr id="35" name="Picture 2" descr="\\USERNAME-PC\Stuttgarter bAV - Daten CD (Ordner)\b) Schritt 1 Arbeitgeber Analyse - Die Stuttgarter bAV-Lösung\_Änderungen\BAV_Bilder_PPT\Siegel\FitchRatings_A_RGB.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657789" y="2601370"/>
              <a:ext cx="2024524" cy="1228982"/>
            </a:xfrm>
            <a:prstGeom prst="rect">
              <a:avLst/>
            </a:prstGeom>
            <a:noFill/>
            <a:extLst>
              <a:ext uri="{909E8E84-426E-40DD-AFC4-6F175D3DCCD1}">
                <a14:hiddenFill xmlns:a14="http://schemas.microsoft.com/office/drawing/2010/main">
                  <a:solidFill>
                    <a:srgbClr val="FFFFFF"/>
                  </a:solidFill>
                </a14:hiddenFill>
              </a:ext>
            </a:extLst>
          </p:spPr>
        </p:pic>
        <p:pic>
          <p:nvPicPr>
            <p:cNvPr id="36" name="Grafik 35"/>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4506313" y="4038398"/>
              <a:ext cx="2010885" cy="1228982"/>
            </a:xfrm>
            <a:prstGeom prst="rect">
              <a:avLst/>
            </a:prstGeom>
          </p:spPr>
        </p:pic>
        <p:pic>
          <p:nvPicPr>
            <p:cNvPr id="37" name="Grafik 3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77660" y="2601370"/>
              <a:ext cx="1300199" cy="1260000"/>
            </a:xfrm>
            <a:prstGeom prst="rect">
              <a:avLst/>
            </a:prstGeom>
          </p:spPr>
        </p:pic>
        <p:pic>
          <p:nvPicPr>
            <p:cNvPr id="38" name="Grafik 3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953951" y="4038398"/>
              <a:ext cx="1432201" cy="1227600"/>
            </a:xfrm>
            <a:prstGeom prst="rect">
              <a:avLst/>
            </a:prstGeom>
          </p:spPr>
        </p:pic>
      </p:grpSp>
    </p:spTree>
    <p:extLst>
      <p:ext uri="{BB962C8B-B14F-4D97-AF65-F5344CB8AC3E}">
        <p14:creationId xmlns:p14="http://schemas.microsoft.com/office/powerpoint/2010/main" val="335101097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dirty="0"/>
              <a:t>Persönliches Gespräch:</a:t>
            </a:r>
            <a:br>
              <a:rPr lang="de-DE" altLang="de-DE" dirty="0"/>
            </a:br>
            <a:r>
              <a:rPr lang="de-DE" altLang="de-DE" dirty="0"/>
              <a:t>Lassen Sie uns gemeinsam ins Detail gehen</a:t>
            </a:r>
            <a:endParaRPr lang="de-DE" dirty="0"/>
          </a:p>
        </p:txBody>
      </p:sp>
      <p:sp>
        <p:nvSpPr>
          <p:cNvPr id="5" name="Textplatzhalter 4"/>
          <p:cNvSpPr>
            <a:spLocks noGrp="1"/>
          </p:cNvSpPr>
          <p:nvPr>
            <p:ph type="body" sz="quarter" idx="21"/>
          </p:nvPr>
        </p:nvSpPr>
        <p:spPr/>
        <p:txBody>
          <a:bodyPr/>
          <a:lstStyle/>
          <a:p>
            <a:r>
              <a:rPr lang="de-DE" altLang="de-DE" dirty="0"/>
              <a:t>Informieren Sie sich über Ihre individuellen Vorteile und Beiträge in der bAV.</a:t>
            </a:r>
          </a:p>
        </p:txBody>
      </p:sp>
      <p:sp>
        <p:nvSpPr>
          <p:cNvPr id="29" name="Textplatzhalter 28"/>
          <p:cNvSpPr>
            <a:spLocks noGrp="1"/>
          </p:cNvSpPr>
          <p:nvPr>
            <p:ph type="body" sz="quarter" idx="24"/>
          </p:nvPr>
        </p:nvSpPr>
        <p:spPr/>
        <p:txBody>
          <a:bodyPr/>
          <a:lstStyle/>
          <a:p>
            <a:pPr marL="233363" indent="-233363" eaLnBrk="1" hangingPunct="1"/>
            <a:r>
              <a:rPr lang="de-DE" altLang="de-DE" dirty="0">
                <a:solidFill>
                  <a:srgbClr val="FF6600"/>
                </a:solidFill>
              </a:rPr>
              <a:t>Lassen Sie uns für Sie rechnen!</a:t>
            </a:r>
          </a:p>
        </p:txBody>
      </p:sp>
      <p:sp>
        <p:nvSpPr>
          <p:cNvPr id="28" name="Textplatzhalter 27"/>
          <p:cNvSpPr>
            <a:spLocks noGrp="1"/>
          </p:cNvSpPr>
          <p:nvPr>
            <p:ph type="body" sz="quarter" idx="23"/>
          </p:nvPr>
        </p:nvSpPr>
        <p:spPr/>
        <p:txBody>
          <a:bodyPr/>
          <a:lstStyle/>
          <a:p>
            <a:endParaRPr lang="de-DE"/>
          </a:p>
        </p:txBody>
      </p:sp>
      <p:sp>
        <p:nvSpPr>
          <p:cNvPr id="8" name="Textplatzhalter 7"/>
          <p:cNvSpPr>
            <a:spLocks noGrp="1"/>
          </p:cNvSpPr>
          <p:nvPr>
            <p:ph type="body" sz="quarter" idx="18"/>
          </p:nvPr>
        </p:nvSpPr>
        <p:spPr/>
        <p:txBody>
          <a:bodyPr/>
          <a:lstStyle/>
          <a:p>
            <a:r>
              <a:rPr lang="de-DE"/>
              <a:t>6. </a:t>
            </a:r>
            <a:r>
              <a:rPr lang="de-DE" altLang="de-DE"/>
              <a:t>Die Stuttgarter – Partner für Ihre bAV</a:t>
            </a:r>
            <a:endParaRPr lang="de-DE" dirty="0"/>
          </a:p>
        </p:txBody>
      </p:sp>
      <p:sp>
        <p:nvSpPr>
          <p:cNvPr id="9" name="Datumsplatzhalter 8"/>
          <p:cNvSpPr>
            <a:spLocks noGrp="1"/>
          </p:cNvSpPr>
          <p:nvPr>
            <p:ph type="dt" sz="half" idx="25"/>
          </p:nvPr>
        </p:nvSpPr>
        <p:spPr/>
        <p:txBody>
          <a:bodyPr/>
          <a:lstStyle/>
          <a:p>
            <a:r>
              <a:rPr lang="de-DE"/>
              <a:t>01.01.2020</a:t>
            </a:r>
            <a:endParaRPr lang="de-DE" dirty="0"/>
          </a:p>
        </p:txBody>
      </p:sp>
      <p:sp>
        <p:nvSpPr>
          <p:cNvPr id="10" name="Fußzeilenplatzhalter 9"/>
          <p:cNvSpPr>
            <a:spLocks noGrp="1"/>
          </p:cNvSpPr>
          <p:nvPr>
            <p:ph type="ftr" sz="quarter" idx="26"/>
          </p:nvPr>
        </p:nvSpPr>
        <p:spPr/>
        <p:txBody>
          <a:bodyPr/>
          <a:lstStyle/>
          <a:p>
            <a:r>
              <a:rPr lang="de-DE"/>
              <a:t>Präsentation für Arbeitnehmer</a:t>
            </a:r>
            <a:endParaRPr lang="de-DE" dirty="0"/>
          </a:p>
        </p:txBody>
      </p:sp>
      <p:sp>
        <p:nvSpPr>
          <p:cNvPr id="11" name="Foliennummernplatzhalter 10"/>
          <p:cNvSpPr>
            <a:spLocks noGrp="1"/>
          </p:cNvSpPr>
          <p:nvPr>
            <p:ph type="sldNum" sz="quarter" idx="27"/>
          </p:nvPr>
        </p:nvSpPr>
        <p:spPr/>
        <p:txBody>
          <a:bodyPr/>
          <a:lstStyle/>
          <a:p>
            <a:fld id="{BFE8ADF1-837C-463F-9856-54C2D771B21B}" type="slidenum">
              <a:rPr lang="de-DE" smtClean="0"/>
              <a:pPr/>
              <a:t>24</a:t>
            </a:fld>
            <a:endParaRPr lang="de-DE" dirty="0"/>
          </a:p>
        </p:txBody>
      </p:sp>
      <p:pic>
        <p:nvPicPr>
          <p:cNvPr id="21" name="Grafik 20"/>
          <p:cNvPicPr>
            <a:picLocks noChangeAspect="1"/>
          </p:cNvPicPr>
          <p:nvPr/>
        </p:nvPicPr>
        <p:blipFill>
          <a:blip r:embed="rId2"/>
          <a:stretch>
            <a:fillRect/>
          </a:stretch>
        </p:blipFill>
        <p:spPr>
          <a:xfrm rot="180000">
            <a:off x="1327150" y="2683251"/>
            <a:ext cx="6480175" cy="2776538"/>
          </a:xfrm>
          <a:prstGeom prst="rect">
            <a:avLst/>
          </a:prstGeom>
          <a:ln>
            <a:solidFill>
              <a:schemeClr val="accent5"/>
            </a:solidFill>
          </a:ln>
        </p:spPr>
      </p:pic>
    </p:spTree>
    <p:extLst>
      <p:ext uri="{BB962C8B-B14F-4D97-AF65-F5344CB8AC3E}">
        <p14:creationId xmlns:p14="http://schemas.microsoft.com/office/powerpoint/2010/main" val="209267012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bgerundetes Rechteck 18"/>
          <p:cNvSpPr/>
          <p:nvPr/>
        </p:nvSpPr>
        <p:spPr>
          <a:xfrm>
            <a:off x="1828261" y="2600325"/>
            <a:ext cx="5487478" cy="1646096"/>
          </a:xfrm>
          <a:custGeom>
            <a:avLst/>
            <a:gdLst>
              <a:gd name="connsiteX0" fmla="*/ 0 w 5485640"/>
              <a:gd name="connsiteY0" fmla="*/ 151424 h 1646096"/>
              <a:gd name="connsiteX1" fmla="*/ 151424 w 5485640"/>
              <a:gd name="connsiteY1" fmla="*/ 0 h 1646096"/>
              <a:gd name="connsiteX2" fmla="*/ 5334216 w 5485640"/>
              <a:gd name="connsiteY2" fmla="*/ 0 h 1646096"/>
              <a:gd name="connsiteX3" fmla="*/ 5485640 w 5485640"/>
              <a:gd name="connsiteY3" fmla="*/ 151424 h 1646096"/>
              <a:gd name="connsiteX4" fmla="*/ 5485640 w 5485640"/>
              <a:gd name="connsiteY4" fmla="*/ 1494672 h 1646096"/>
              <a:gd name="connsiteX5" fmla="*/ 5334216 w 5485640"/>
              <a:gd name="connsiteY5" fmla="*/ 1646096 h 1646096"/>
              <a:gd name="connsiteX6" fmla="*/ 151424 w 5485640"/>
              <a:gd name="connsiteY6" fmla="*/ 1646096 h 1646096"/>
              <a:gd name="connsiteX7" fmla="*/ 0 w 5485640"/>
              <a:gd name="connsiteY7" fmla="*/ 1494672 h 1646096"/>
              <a:gd name="connsiteX8" fmla="*/ 0 w 5485640"/>
              <a:gd name="connsiteY8" fmla="*/ 151424 h 1646096"/>
              <a:gd name="connsiteX0" fmla="*/ 0 w 5485640"/>
              <a:gd name="connsiteY0" fmla="*/ 1494672 h 1646096"/>
              <a:gd name="connsiteX1" fmla="*/ 151424 w 5485640"/>
              <a:gd name="connsiteY1" fmla="*/ 0 h 1646096"/>
              <a:gd name="connsiteX2" fmla="*/ 5334216 w 5485640"/>
              <a:gd name="connsiteY2" fmla="*/ 0 h 1646096"/>
              <a:gd name="connsiteX3" fmla="*/ 5485640 w 5485640"/>
              <a:gd name="connsiteY3" fmla="*/ 151424 h 1646096"/>
              <a:gd name="connsiteX4" fmla="*/ 5485640 w 5485640"/>
              <a:gd name="connsiteY4" fmla="*/ 1494672 h 1646096"/>
              <a:gd name="connsiteX5" fmla="*/ 5334216 w 5485640"/>
              <a:gd name="connsiteY5" fmla="*/ 1646096 h 1646096"/>
              <a:gd name="connsiteX6" fmla="*/ 151424 w 5485640"/>
              <a:gd name="connsiteY6" fmla="*/ 1646096 h 1646096"/>
              <a:gd name="connsiteX7" fmla="*/ 0 w 5485640"/>
              <a:gd name="connsiteY7" fmla="*/ 1494672 h 1646096"/>
              <a:gd name="connsiteX0" fmla="*/ 0 w 5485640"/>
              <a:gd name="connsiteY0" fmla="*/ 1494672 h 1646096"/>
              <a:gd name="connsiteX1" fmla="*/ 2618 w 5485640"/>
              <a:gd name="connsiteY1" fmla="*/ 4313 h 1646096"/>
              <a:gd name="connsiteX2" fmla="*/ 5334216 w 5485640"/>
              <a:gd name="connsiteY2" fmla="*/ 0 h 1646096"/>
              <a:gd name="connsiteX3" fmla="*/ 5485640 w 5485640"/>
              <a:gd name="connsiteY3" fmla="*/ 151424 h 1646096"/>
              <a:gd name="connsiteX4" fmla="*/ 5485640 w 5485640"/>
              <a:gd name="connsiteY4" fmla="*/ 1494672 h 1646096"/>
              <a:gd name="connsiteX5" fmla="*/ 5334216 w 5485640"/>
              <a:gd name="connsiteY5" fmla="*/ 1646096 h 1646096"/>
              <a:gd name="connsiteX6" fmla="*/ 151424 w 5485640"/>
              <a:gd name="connsiteY6" fmla="*/ 1646096 h 1646096"/>
              <a:gd name="connsiteX7" fmla="*/ 0 w 5485640"/>
              <a:gd name="connsiteY7" fmla="*/ 1494672 h 1646096"/>
              <a:gd name="connsiteX0" fmla="*/ 1838 w 5487478"/>
              <a:gd name="connsiteY0" fmla="*/ 1494672 h 1646096"/>
              <a:gd name="connsiteX1" fmla="*/ 143 w 5487478"/>
              <a:gd name="connsiteY1" fmla="*/ 2157 h 1646096"/>
              <a:gd name="connsiteX2" fmla="*/ 5336054 w 5487478"/>
              <a:gd name="connsiteY2" fmla="*/ 0 h 1646096"/>
              <a:gd name="connsiteX3" fmla="*/ 5487478 w 5487478"/>
              <a:gd name="connsiteY3" fmla="*/ 151424 h 1646096"/>
              <a:gd name="connsiteX4" fmla="*/ 5487478 w 5487478"/>
              <a:gd name="connsiteY4" fmla="*/ 1494672 h 1646096"/>
              <a:gd name="connsiteX5" fmla="*/ 5336054 w 5487478"/>
              <a:gd name="connsiteY5" fmla="*/ 1646096 h 1646096"/>
              <a:gd name="connsiteX6" fmla="*/ 153262 w 5487478"/>
              <a:gd name="connsiteY6" fmla="*/ 1646096 h 1646096"/>
              <a:gd name="connsiteX7" fmla="*/ 1838 w 5487478"/>
              <a:gd name="connsiteY7" fmla="*/ 1494672 h 1646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87478" h="1646096">
                <a:moveTo>
                  <a:pt x="1838" y="1494672"/>
                </a:moveTo>
                <a:cubicBezTo>
                  <a:pt x="2711" y="997886"/>
                  <a:pt x="-730" y="498943"/>
                  <a:pt x="143" y="2157"/>
                </a:cubicBezTo>
                <a:lnTo>
                  <a:pt x="5336054" y="0"/>
                </a:lnTo>
                <a:cubicBezTo>
                  <a:pt x="5419683" y="0"/>
                  <a:pt x="5487478" y="67795"/>
                  <a:pt x="5487478" y="151424"/>
                </a:cubicBezTo>
                <a:lnTo>
                  <a:pt x="5487478" y="1494672"/>
                </a:lnTo>
                <a:cubicBezTo>
                  <a:pt x="5487478" y="1578301"/>
                  <a:pt x="5419683" y="1646096"/>
                  <a:pt x="5336054" y="1646096"/>
                </a:cubicBezTo>
                <a:lnTo>
                  <a:pt x="153262" y="1646096"/>
                </a:lnTo>
                <a:cubicBezTo>
                  <a:pt x="69633" y="1646096"/>
                  <a:pt x="1838" y="1578301"/>
                  <a:pt x="1838" y="1494672"/>
                </a:cubicBezTo>
                <a:close/>
              </a:path>
            </a:pathLst>
          </a:custGeom>
          <a:solidFill>
            <a:srgbClr val="FFFFFF">
              <a:alpha val="50000"/>
            </a:srgb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kumimoji="0" lang="de-DE" sz="3200" b="1" i="0" u="none" strike="noStrike" kern="1200" cap="none" spc="0" normalizeH="0" baseline="0" noProof="0" dirty="0">
                <a:ln>
                  <a:noFill/>
                </a:ln>
                <a:solidFill>
                  <a:srgbClr val="009EE0"/>
                </a:solidFill>
                <a:effectLst/>
                <a:uLnTx/>
                <a:uFillTx/>
                <a:latin typeface="+mn-lt"/>
                <a:ea typeface="+mj-ea"/>
                <a:cs typeface="+mj-cs"/>
              </a:rPr>
              <a:t>Vielen Dank für</a:t>
            </a:r>
            <a:br>
              <a:rPr kumimoji="0" lang="de-DE" sz="3200" b="1" i="0" u="none" strike="noStrike" kern="1200" cap="none" spc="0" normalizeH="0" baseline="0" noProof="0" dirty="0">
                <a:ln>
                  <a:noFill/>
                </a:ln>
                <a:solidFill>
                  <a:srgbClr val="009EE0"/>
                </a:solidFill>
                <a:effectLst/>
                <a:uLnTx/>
                <a:uFillTx/>
                <a:latin typeface="+mn-lt"/>
                <a:ea typeface="+mj-ea"/>
                <a:cs typeface="+mj-cs"/>
              </a:rPr>
            </a:br>
            <a:r>
              <a:rPr kumimoji="0" lang="de-DE" sz="3200" b="1" i="0" u="none" strike="noStrike" kern="1200" cap="none" spc="0" normalizeH="0" baseline="0" noProof="0" dirty="0">
                <a:ln>
                  <a:noFill/>
                </a:ln>
                <a:solidFill>
                  <a:srgbClr val="009EE0"/>
                </a:solidFill>
                <a:effectLst/>
                <a:uLnTx/>
                <a:uFillTx/>
                <a:latin typeface="+mn-lt"/>
                <a:ea typeface="+mj-ea"/>
                <a:cs typeface="+mj-cs"/>
              </a:rPr>
              <a:t>Ihre Aufmerksamkeit.</a:t>
            </a:r>
            <a:endParaRPr lang="de-DE" sz="2400" dirty="0"/>
          </a:p>
        </p:txBody>
      </p:sp>
    </p:spTree>
    <p:extLst>
      <p:ext uri="{BB962C8B-B14F-4D97-AF65-F5344CB8AC3E}">
        <p14:creationId xmlns:p14="http://schemas.microsoft.com/office/powerpoint/2010/main" val="218896213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4"/>
          <p:cNvSpPr txBox="1">
            <a:spLocks/>
          </p:cNvSpPr>
          <p:nvPr/>
        </p:nvSpPr>
        <p:spPr bwMode="auto">
          <a:xfrm>
            <a:off x="358775" y="3456780"/>
            <a:ext cx="5954713" cy="2103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spAutoFit/>
          </a:bodyPr>
          <a:lstStyle>
            <a:lvl1pPr>
              <a:spcBef>
                <a:spcPts val="1600"/>
              </a:spcBef>
              <a:tabLst>
                <a:tab pos="268288" algn="l"/>
              </a:tabLst>
              <a:defRPr sz="1700">
                <a:solidFill>
                  <a:schemeClr val="tx1"/>
                </a:solidFill>
                <a:latin typeface="Arial" panose="020B0604020202020204" pitchFamily="34" charset="0"/>
              </a:defRPr>
            </a:lvl1pPr>
            <a:lvl2pPr marL="742950" indent="-285750">
              <a:spcBef>
                <a:spcPts val="1600"/>
              </a:spcBef>
              <a:buSzPct val="100000"/>
              <a:buBlip>
                <a:blip r:embed="rId2"/>
              </a:buBlip>
              <a:tabLst>
                <a:tab pos="268288" algn="l"/>
              </a:tabLst>
              <a:defRPr sz="1700">
                <a:solidFill>
                  <a:schemeClr val="tx1"/>
                </a:solidFill>
                <a:latin typeface="Arial" panose="020B0604020202020204" pitchFamily="34" charset="0"/>
              </a:defRPr>
            </a:lvl2pPr>
            <a:lvl3pPr marL="1143000" indent="-228600">
              <a:spcBef>
                <a:spcPts val="1600"/>
              </a:spcBef>
              <a:buSzPct val="100000"/>
              <a:buBlip>
                <a:blip r:embed="rId2"/>
              </a:buBlip>
              <a:tabLst>
                <a:tab pos="268288" algn="l"/>
              </a:tabLst>
              <a:defRPr sz="1700">
                <a:solidFill>
                  <a:schemeClr val="tx1"/>
                </a:solidFill>
                <a:latin typeface="Arial" panose="020B0604020202020204" pitchFamily="34" charset="0"/>
              </a:defRPr>
            </a:lvl3pPr>
            <a:lvl4pPr marL="1600200" indent="-228600">
              <a:spcBef>
                <a:spcPts val="1600"/>
              </a:spcBef>
              <a:buSzPct val="100000"/>
              <a:buBlip>
                <a:blip r:embed="rId2"/>
              </a:buBlip>
              <a:tabLst>
                <a:tab pos="268288" algn="l"/>
              </a:tabLst>
              <a:defRPr sz="1700">
                <a:solidFill>
                  <a:schemeClr val="tx1"/>
                </a:solidFill>
                <a:latin typeface="Arial" panose="020B0604020202020204" pitchFamily="34" charset="0"/>
              </a:defRPr>
            </a:lvl4pPr>
            <a:lvl5pPr marL="2057400" indent="-228600">
              <a:spcBef>
                <a:spcPts val="1600"/>
              </a:spcBef>
              <a:buSzPct val="100000"/>
              <a:buBlip>
                <a:blip r:embed="rId2"/>
              </a:buBlip>
              <a:tabLst>
                <a:tab pos="268288" algn="l"/>
              </a:tabLst>
              <a:defRPr sz="1700">
                <a:solidFill>
                  <a:schemeClr val="tx1"/>
                </a:solidFill>
                <a:latin typeface="Arial" panose="020B0604020202020204" pitchFamily="34" charset="0"/>
              </a:defRPr>
            </a:lvl5pPr>
            <a:lvl6pPr marL="2514600" indent="-228600" defTabSz="457200" eaLnBrk="0" fontAlgn="base" hangingPunct="0">
              <a:spcBef>
                <a:spcPts val="1600"/>
              </a:spcBef>
              <a:spcAft>
                <a:spcPct val="0"/>
              </a:spcAft>
              <a:buSzPct val="100000"/>
              <a:buBlip>
                <a:blip r:embed="rId2"/>
              </a:buBlip>
              <a:tabLst>
                <a:tab pos="268288" algn="l"/>
              </a:tabLst>
              <a:defRPr sz="1700">
                <a:solidFill>
                  <a:schemeClr val="tx1"/>
                </a:solidFill>
                <a:latin typeface="Arial" panose="020B0604020202020204" pitchFamily="34" charset="0"/>
              </a:defRPr>
            </a:lvl6pPr>
            <a:lvl7pPr marL="2971800" indent="-228600" defTabSz="457200" eaLnBrk="0" fontAlgn="base" hangingPunct="0">
              <a:spcBef>
                <a:spcPts val="1600"/>
              </a:spcBef>
              <a:spcAft>
                <a:spcPct val="0"/>
              </a:spcAft>
              <a:buSzPct val="100000"/>
              <a:buBlip>
                <a:blip r:embed="rId2"/>
              </a:buBlip>
              <a:tabLst>
                <a:tab pos="268288" algn="l"/>
              </a:tabLst>
              <a:defRPr sz="1700">
                <a:solidFill>
                  <a:schemeClr val="tx1"/>
                </a:solidFill>
                <a:latin typeface="Arial" panose="020B0604020202020204" pitchFamily="34" charset="0"/>
              </a:defRPr>
            </a:lvl7pPr>
            <a:lvl8pPr marL="3429000" indent="-228600" defTabSz="457200" eaLnBrk="0" fontAlgn="base" hangingPunct="0">
              <a:spcBef>
                <a:spcPts val="1600"/>
              </a:spcBef>
              <a:spcAft>
                <a:spcPct val="0"/>
              </a:spcAft>
              <a:buSzPct val="100000"/>
              <a:buBlip>
                <a:blip r:embed="rId2"/>
              </a:buBlip>
              <a:tabLst>
                <a:tab pos="268288" algn="l"/>
              </a:tabLst>
              <a:defRPr sz="1700">
                <a:solidFill>
                  <a:schemeClr val="tx1"/>
                </a:solidFill>
                <a:latin typeface="Arial" panose="020B0604020202020204" pitchFamily="34" charset="0"/>
              </a:defRPr>
            </a:lvl8pPr>
            <a:lvl9pPr marL="3886200" indent="-228600" defTabSz="457200" eaLnBrk="0" fontAlgn="base" hangingPunct="0">
              <a:spcBef>
                <a:spcPts val="1600"/>
              </a:spcBef>
              <a:spcAft>
                <a:spcPct val="0"/>
              </a:spcAft>
              <a:buSzPct val="100000"/>
              <a:buBlip>
                <a:blip r:embed="rId2"/>
              </a:buBlip>
              <a:tabLst>
                <a:tab pos="268288" algn="l"/>
              </a:tabLst>
              <a:defRPr sz="1700">
                <a:solidFill>
                  <a:schemeClr val="tx1"/>
                </a:solidFill>
                <a:latin typeface="Arial" panose="020B0604020202020204" pitchFamily="34" charset="0"/>
              </a:defRPr>
            </a:lvl9pPr>
          </a:lstStyle>
          <a:p>
            <a:pPr eaLnBrk="1" hangingPunct="1"/>
            <a:r>
              <a:rPr lang="de-DE" altLang="de-DE" sz="1000" dirty="0"/>
              <a:t>Die Ihnen überlassenen Unterlagen basieren auf Beurteilungen und rechtlichen Einschätzungen des Vermittlers zum Zeitpunkt der Erstellung der Unterlagen. Die Unterlagen dienen ausschließlich zu Informationszwecken und ersetzen keine individuelle Beratung. Eine Gewähr für die Richtigkeit und Vollständigkeit kann nicht übernommen werden. Durch die Überlassung der Unterlagen wird eine Haftung gegenüber dem Empfänger, Teilnehmer oder Dritten nicht begründet. </a:t>
            </a:r>
          </a:p>
          <a:p>
            <a:pPr eaLnBrk="1" hangingPunct="1"/>
            <a:r>
              <a:rPr lang="de-DE" altLang="de-DE" sz="1000" b="1" dirty="0"/>
              <a:t>Copyright </a:t>
            </a:r>
            <a:r>
              <a:rPr lang="de-DE" altLang="de-DE" sz="1000" b="1" dirty="0" err="1"/>
              <a:t>by</a:t>
            </a:r>
            <a:r>
              <a:rPr lang="de-DE" altLang="de-DE" sz="1000" b="1" dirty="0"/>
              <a:t> Vermittler</a:t>
            </a:r>
            <a:r>
              <a:rPr lang="de-DE" altLang="de-DE" sz="1000" dirty="0"/>
              <a:t>. </a:t>
            </a:r>
            <a:br>
              <a:rPr lang="de-DE" altLang="de-DE" sz="1000" dirty="0"/>
            </a:br>
            <a:r>
              <a:rPr lang="de-DE" altLang="de-DE" sz="1000" dirty="0"/>
              <a:t>Alle Rechte vorbehalten. Jedes Veräußern, Verleihen oder sonstiges Verbreiten, auch auszugsweise, bedarf der Zustimmung des Vermittlers.</a:t>
            </a:r>
          </a:p>
          <a:p>
            <a:pPr eaLnBrk="1" hangingPunct="1"/>
            <a:r>
              <a:rPr lang="de-DE" altLang="de-DE" sz="1000" dirty="0"/>
              <a:t>Es handelt sich um eine Werbemitteilung. Bei den Beschreibungen handelt es sich um verkürzte, unverbindliche Darstellungen. </a:t>
            </a:r>
            <a:br>
              <a:rPr lang="de-DE" altLang="de-DE" sz="1000" dirty="0"/>
            </a:br>
            <a:r>
              <a:rPr lang="de-DE" altLang="de-DE" sz="1000" dirty="0"/>
              <a:t>Maßgeblich sind ausschließlich die Tarifbestimmungen und die Versicherungsbedingungen.</a:t>
            </a:r>
          </a:p>
        </p:txBody>
      </p:sp>
    </p:spTree>
    <p:extLst>
      <p:ext uri="{BB962C8B-B14F-4D97-AF65-F5344CB8AC3E}">
        <p14:creationId xmlns:p14="http://schemas.microsoft.com/office/powerpoint/2010/main" val="428862837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bgerundetes Rechteck 18"/>
          <p:cNvSpPr/>
          <p:nvPr/>
        </p:nvSpPr>
        <p:spPr>
          <a:xfrm>
            <a:off x="1826577" y="1418541"/>
            <a:ext cx="5487478" cy="4464273"/>
          </a:xfrm>
          <a:prstGeom prst="roundRect">
            <a:avLst>
              <a:gd name="adj" fmla="val 3920"/>
            </a:avLst>
          </a:prstGeom>
          <a:solidFill>
            <a:srgbClr val="FFFFFF">
              <a:alpha val="50000"/>
            </a:srgbClr>
          </a:solidFill>
          <a:ln w="9525">
            <a:noFill/>
          </a:ln>
          <a:effectLst/>
        </p:spPr>
        <p:style>
          <a:lnRef idx="1">
            <a:schemeClr val="accent1"/>
          </a:lnRef>
          <a:fillRef idx="3">
            <a:schemeClr val="accent1"/>
          </a:fillRef>
          <a:effectRef idx="2">
            <a:schemeClr val="accent1"/>
          </a:effectRef>
          <a:fontRef idx="minor">
            <a:schemeClr val="lt1"/>
          </a:fontRef>
        </p:style>
        <p:txBody>
          <a:bodyPr lIns="648000" tIns="252000" rIns="648000" rtlCol="0" anchor="t"/>
          <a:lstStyle/>
          <a:p>
            <a:pPr algn="l"/>
            <a:r>
              <a:rPr kumimoji="0" lang="de-DE" sz="3200" b="1" i="0" u="none" strike="noStrike" kern="1200" cap="none" spc="0" normalizeH="0" baseline="0" noProof="0" dirty="0">
                <a:ln>
                  <a:noFill/>
                </a:ln>
                <a:solidFill>
                  <a:srgbClr val="009EE0"/>
                </a:solidFill>
                <a:effectLst/>
                <a:uLnTx/>
                <a:uFillTx/>
                <a:latin typeface="+mn-lt"/>
                <a:ea typeface="+mj-ea"/>
                <a:cs typeface="+mj-cs"/>
              </a:rPr>
              <a:t>Kontakt</a:t>
            </a:r>
          </a:p>
          <a:p>
            <a:pPr algn="l">
              <a:spcBef>
                <a:spcPts val="1800"/>
              </a:spcBef>
            </a:pPr>
            <a:r>
              <a:rPr kumimoji="0" lang="de-DE" sz="1500" b="0" i="0" u="none" strike="noStrike" kern="1200" cap="none" spc="0" normalizeH="0" baseline="0" noProof="0" dirty="0">
                <a:ln>
                  <a:noFill/>
                </a:ln>
                <a:solidFill>
                  <a:schemeClr val="tx2"/>
                </a:solidFill>
                <a:effectLst/>
                <a:uLnTx/>
                <a:uFillTx/>
                <a:latin typeface="+mn-lt"/>
                <a:ea typeface="+mj-ea"/>
                <a:cs typeface="+mj-cs"/>
              </a:rPr>
              <a:t>Fragen &amp; Wünsche zur </a:t>
            </a:r>
            <a:r>
              <a:rPr kumimoji="0" lang="de-DE" sz="1500" b="0" i="0" u="none" strike="noStrike" kern="1200" cap="none" spc="0" normalizeH="0" baseline="0" noProof="0" dirty="0" err="1">
                <a:ln>
                  <a:noFill/>
                </a:ln>
                <a:solidFill>
                  <a:schemeClr val="tx2"/>
                </a:solidFill>
                <a:effectLst/>
                <a:uLnTx/>
                <a:uFillTx/>
                <a:latin typeface="+mn-lt"/>
                <a:ea typeface="+mj-ea"/>
                <a:cs typeface="+mj-cs"/>
              </a:rPr>
              <a:t>bAV</a:t>
            </a:r>
            <a:r>
              <a:rPr kumimoji="0" lang="de-DE" sz="1500" b="0" i="0" u="none" strike="noStrike" kern="1200" cap="none" spc="0" normalizeH="0" baseline="0" noProof="0" dirty="0">
                <a:ln>
                  <a:noFill/>
                </a:ln>
                <a:solidFill>
                  <a:schemeClr val="tx2"/>
                </a:solidFill>
                <a:effectLst/>
                <a:uLnTx/>
                <a:uFillTx/>
                <a:latin typeface="+mn-lt"/>
                <a:ea typeface="+mj-ea"/>
                <a:cs typeface="+mj-cs"/>
              </a:rPr>
              <a:t> in Ihrem und für</a:t>
            </a:r>
          </a:p>
          <a:p>
            <a:pPr algn="l"/>
            <a:r>
              <a:rPr kumimoji="0" lang="de-DE" sz="1500" b="0" i="0" u="none" strike="noStrike" kern="1200" cap="none" spc="0" normalizeH="0" baseline="0" noProof="0" dirty="0">
                <a:ln>
                  <a:noFill/>
                </a:ln>
                <a:solidFill>
                  <a:schemeClr val="tx2"/>
                </a:solidFill>
                <a:effectLst/>
                <a:uLnTx/>
                <a:uFillTx/>
                <a:latin typeface="+mn-lt"/>
                <a:ea typeface="+mj-ea"/>
                <a:cs typeface="+mj-cs"/>
              </a:rPr>
              <a:t>Ihr Unternehmen? Ich informiere Sie gern.</a:t>
            </a:r>
          </a:p>
          <a:p>
            <a:pPr algn="l">
              <a:lnSpc>
                <a:spcPct val="110000"/>
              </a:lnSpc>
              <a:spcBef>
                <a:spcPts val="2400"/>
              </a:spcBef>
            </a:pPr>
            <a:r>
              <a:rPr kumimoji="0" lang="de-DE" sz="1500" b="1" i="0" u="none" strike="noStrike" kern="1200" cap="none" spc="0" normalizeH="0" baseline="0" noProof="0" dirty="0">
                <a:ln>
                  <a:noFill/>
                </a:ln>
                <a:solidFill>
                  <a:schemeClr val="tx1"/>
                </a:solidFill>
                <a:effectLst/>
                <a:uLnTx/>
                <a:uFillTx/>
                <a:latin typeface="+mn-lt"/>
                <a:ea typeface="+mn-ea"/>
                <a:cs typeface="+mn-cs"/>
              </a:rPr>
              <a:t>Martin Mustervermittler</a:t>
            </a:r>
          </a:p>
          <a:p>
            <a:pPr algn="l">
              <a:lnSpc>
                <a:spcPct val="110000"/>
              </a:lnSpc>
            </a:pPr>
            <a:r>
              <a:rPr kumimoji="0" lang="de-DE" sz="1500" b="0" i="0" u="none" strike="noStrike" kern="1200" cap="none" spc="0" normalizeH="0" baseline="0" noProof="0" dirty="0">
                <a:ln>
                  <a:noFill/>
                </a:ln>
                <a:solidFill>
                  <a:schemeClr val="tx1"/>
                </a:solidFill>
                <a:effectLst/>
                <a:uLnTx/>
                <a:uFillTx/>
                <a:latin typeface="+mn-lt"/>
                <a:ea typeface="+mn-ea"/>
                <a:cs typeface="+mn-cs"/>
              </a:rPr>
              <a:t>Musterstraße 100</a:t>
            </a:r>
          </a:p>
          <a:p>
            <a:pPr algn="l">
              <a:lnSpc>
                <a:spcPct val="110000"/>
              </a:lnSpc>
            </a:pPr>
            <a:r>
              <a:rPr kumimoji="0" lang="de-DE" sz="1500" b="0" i="0" u="none" strike="noStrike" kern="1200" cap="none" spc="0" normalizeH="0" baseline="0" noProof="0" dirty="0">
                <a:ln>
                  <a:noFill/>
                </a:ln>
                <a:solidFill>
                  <a:schemeClr val="tx1"/>
                </a:solidFill>
                <a:effectLst/>
                <a:uLnTx/>
                <a:uFillTx/>
                <a:latin typeface="+mn-lt"/>
                <a:ea typeface="+mn-ea"/>
                <a:cs typeface="+mn-cs"/>
              </a:rPr>
              <a:t>10000 Musterstadt</a:t>
            </a:r>
          </a:p>
          <a:p>
            <a:pPr algn="l">
              <a:lnSpc>
                <a:spcPct val="110000"/>
              </a:lnSpc>
              <a:spcBef>
                <a:spcPts val="600"/>
              </a:spcBef>
            </a:pPr>
            <a:r>
              <a:rPr kumimoji="0" lang="de-DE" sz="1500" b="0" i="0" u="none" strike="noStrike" kern="1200" cap="none" spc="0" normalizeH="0" baseline="0" noProof="0" dirty="0">
                <a:ln>
                  <a:noFill/>
                </a:ln>
                <a:solidFill>
                  <a:schemeClr val="tx1"/>
                </a:solidFill>
                <a:effectLst/>
                <a:uLnTx/>
                <a:uFillTx/>
                <a:latin typeface="+mn-lt"/>
                <a:ea typeface="+mn-ea"/>
                <a:cs typeface="+mn-cs"/>
              </a:rPr>
              <a:t>Telefon 0123 4567890</a:t>
            </a:r>
          </a:p>
          <a:p>
            <a:pPr algn="l">
              <a:lnSpc>
                <a:spcPct val="110000"/>
              </a:lnSpc>
            </a:pPr>
            <a:r>
              <a:rPr kumimoji="0" lang="de-DE" sz="1500" b="0" i="0" u="none" strike="noStrike" kern="1200" cap="none" spc="0" normalizeH="0" baseline="0" noProof="0" dirty="0">
                <a:ln>
                  <a:noFill/>
                </a:ln>
                <a:solidFill>
                  <a:schemeClr val="tx1"/>
                </a:solidFill>
                <a:effectLst/>
                <a:uLnTx/>
                <a:uFillTx/>
                <a:latin typeface="+mn-lt"/>
                <a:ea typeface="+mn-ea"/>
                <a:cs typeface="+mn-cs"/>
              </a:rPr>
              <a:t>Telefax 0123 4567890</a:t>
            </a:r>
          </a:p>
          <a:p>
            <a:pPr algn="l">
              <a:lnSpc>
                <a:spcPct val="110000"/>
              </a:lnSpc>
            </a:pPr>
            <a:r>
              <a:rPr kumimoji="0" lang="de-DE" sz="1500" b="0" i="0" u="none" strike="noStrike" kern="1200" cap="none" spc="0" normalizeH="0" baseline="0" noProof="0" dirty="0">
                <a:ln>
                  <a:noFill/>
                </a:ln>
                <a:solidFill>
                  <a:schemeClr val="tx1"/>
                </a:solidFill>
                <a:effectLst/>
                <a:uLnTx/>
                <a:uFillTx/>
                <a:latin typeface="+mn-lt"/>
                <a:ea typeface="+mn-ea"/>
                <a:cs typeface="+mn-cs"/>
              </a:rPr>
              <a:t>Mobil 0123 4567890</a:t>
            </a:r>
          </a:p>
          <a:p>
            <a:pPr>
              <a:lnSpc>
                <a:spcPct val="110000"/>
              </a:lnSpc>
              <a:spcBef>
                <a:spcPts val="600"/>
              </a:spcBef>
            </a:pPr>
            <a:r>
              <a:rPr lang="de-DE" sz="1500" dirty="0">
                <a:solidFill>
                  <a:schemeClr val="tx1"/>
                </a:solidFill>
              </a:rPr>
              <a:t>martin-mustervermittler@mustervermittler.de</a:t>
            </a:r>
            <a:br>
              <a:rPr lang="de-DE" sz="1500" dirty="0">
                <a:solidFill>
                  <a:schemeClr val="tx1"/>
                </a:solidFill>
              </a:rPr>
            </a:br>
            <a:r>
              <a:rPr lang="de-DE" sz="1500" dirty="0">
                <a:solidFill>
                  <a:schemeClr val="tx1"/>
                </a:solidFill>
              </a:rPr>
              <a:t>www.mustervermittler.de</a:t>
            </a:r>
          </a:p>
        </p:txBody>
      </p:sp>
    </p:spTree>
    <p:extLst>
      <p:ext uri="{BB962C8B-B14F-4D97-AF65-F5344CB8AC3E}">
        <p14:creationId xmlns:p14="http://schemas.microsoft.com/office/powerpoint/2010/main" val="13990324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812732"/>
            <a:ext cx="9144000" cy="6045268"/>
          </a:xfrm>
          <a:prstGeom prst="rect">
            <a:avLst/>
          </a:prstGeom>
        </p:spPr>
      </p:pic>
      <p:sp>
        <p:nvSpPr>
          <p:cNvPr id="6" name="Abgerundetes Rechteck 24"/>
          <p:cNvSpPr/>
          <p:nvPr/>
        </p:nvSpPr>
        <p:spPr>
          <a:xfrm>
            <a:off x="647095" y="4840181"/>
            <a:ext cx="415347" cy="409710"/>
          </a:xfrm>
          <a:custGeom>
            <a:avLst/>
            <a:gdLst>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415087 w 415087"/>
              <a:gd name="connsiteY2" fmla="*/ 112132 h 414000"/>
              <a:gd name="connsiteX3" fmla="*/ 415087 w 415087"/>
              <a:gd name="connsiteY3" fmla="*/ 301868 h 414000"/>
              <a:gd name="connsiteX4" fmla="*/ 302955 w 415087"/>
              <a:gd name="connsiteY4" fmla="*/ 414000 h 414000"/>
              <a:gd name="connsiteX5" fmla="*/ 112132 w 415087"/>
              <a:gd name="connsiteY5" fmla="*/ 414000 h 414000"/>
              <a:gd name="connsiteX6" fmla="*/ 0 w 415087"/>
              <a:gd name="connsiteY6" fmla="*/ 301868 h 414000"/>
              <a:gd name="connsiteX7" fmla="*/ 0 w 415087"/>
              <a:gd name="connsiteY7" fmla="*/ 112132 h 414000"/>
              <a:gd name="connsiteX0" fmla="*/ 0 w 417243"/>
              <a:gd name="connsiteY0" fmla="*/ 112132 h 414000"/>
              <a:gd name="connsiteX1" fmla="*/ 112132 w 417243"/>
              <a:gd name="connsiteY1" fmla="*/ 0 h 414000"/>
              <a:gd name="connsiteX2" fmla="*/ 417243 w 417243"/>
              <a:gd name="connsiteY2" fmla="*/ 4301 h 414000"/>
              <a:gd name="connsiteX3" fmla="*/ 415087 w 417243"/>
              <a:gd name="connsiteY3" fmla="*/ 301868 h 414000"/>
              <a:gd name="connsiteX4" fmla="*/ 302955 w 417243"/>
              <a:gd name="connsiteY4" fmla="*/ 414000 h 414000"/>
              <a:gd name="connsiteX5" fmla="*/ 112132 w 417243"/>
              <a:gd name="connsiteY5" fmla="*/ 414000 h 414000"/>
              <a:gd name="connsiteX6" fmla="*/ 0 w 417243"/>
              <a:gd name="connsiteY6" fmla="*/ 301868 h 414000"/>
              <a:gd name="connsiteX7" fmla="*/ 0 w 417243"/>
              <a:gd name="connsiteY7" fmla="*/ 112132 h 414000"/>
              <a:gd name="connsiteX0" fmla="*/ 0 w 419399"/>
              <a:gd name="connsiteY0" fmla="*/ 112132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7" fmla="*/ 0 w 419399"/>
              <a:gd name="connsiteY7" fmla="*/ 112132 h 414000"/>
              <a:gd name="connsiteX0" fmla="*/ 0 w 419399"/>
              <a:gd name="connsiteY0" fmla="*/ 112135 h 414003"/>
              <a:gd name="connsiteX1" fmla="*/ 112132 w 419399"/>
              <a:gd name="connsiteY1" fmla="*/ 3 h 414003"/>
              <a:gd name="connsiteX2" fmla="*/ 419399 w 419399"/>
              <a:gd name="connsiteY2" fmla="*/ 2147 h 414003"/>
              <a:gd name="connsiteX3" fmla="*/ 415087 w 419399"/>
              <a:gd name="connsiteY3" fmla="*/ 301871 h 414003"/>
              <a:gd name="connsiteX4" fmla="*/ 302955 w 419399"/>
              <a:gd name="connsiteY4" fmla="*/ 414003 h 414003"/>
              <a:gd name="connsiteX5" fmla="*/ 112132 w 419399"/>
              <a:gd name="connsiteY5" fmla="*/ 414003 h 414003"/>
              <a:gd name="connsiteX6" fmla="*/ 0 w 419399"/>
              <a:gd name="connsiteY6" fmla="*/ 301871 h 414003"/>
              <a:gd name="connsiteX7" fmla="*/ 0 w 419399"/>
              <a:gd name="connsiteY7" fmla="*/ 112135 h 414003"/>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44516"/>
              <a:gd name="connsiteX1" fmla="*/ 112132 w 419399"/>
              <a:gd name="connsiteY1" fmla="*/ 0 h 444516"/>
              <a:gd name="connsiteX2" fmla="*/ 419399 w 419399"/>
              <a:gd name="connsiteY2" fmla="*/ 2144 h 444516"/>
              <a:gd name="connsiteX3" fmla="*/ 415087 w 419399"/>
              <a:gd name="connsiteY3" fmla="*/ 414011 h 444516"/>
              <a:gd name="connsiteX4" fmla="*/ 112132 w 419399"/>
              <a:gd name="connsiteY4" fmla="*/ 414000 h 444516"/>
              <a:gd name="connsiteX5" fmla="*/ 0 w 419399"/>
              <a:gd name="connsiteY5" fmla="*/ 301868 h 444516"/>
              <a:gd name="connsiteX0" fmla="*/ 0 w 419399"/>
              <a:gd name="connsiteY0" fmla="*/ 301868 h 414011"/>
              <a:gd name="connsiteX1" fmla="*/ 112132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4325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299724 h 411867"/>
              <a:gd name="connsiteX1" fmla="*/ 2146 w 419399"/>
              <a:gd name="connsiteY1" fmla="*/ 2169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301868 h 414011"/>
              <a:gd name="connsiteX1" fmla="*/ 2146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2170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5347"/>
              <a:gd name="connsiteY0" fmla="*/ 297567 h 409710"/>
              <a:gd name="connsiteX1" fmla="*/ 2146 w 415347"/>
              <a:gd name="connsiteY1" fmla="*/ 13 h 409710"/>
              <a:gd name="connsiteX2" fmla="*/ 412929 w 415347"/>
              <a:gd name="connsiteY2" fmla="*/ 0 h 409710"/>
              <a:gd name="connsiteX3" fmla="*/ 415087 w 415347"/>
              <a:gd name="connsiteY3" fmla="*/ 409710 h 409710"/>
              <a:gd name="connsiteX4" fmla="*/ 112132 w 415347"/>
              <a:gd name="connsiteY4" fmla="*/ 409699 h 409710"/>
              <a:gd name="connsiteX5" fmla="*/ 0 w 415347"/>
              <a:gd name="connsiteY5" fmla="*/ 297567 h 40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347" h="409710">
                <a:moveTo>
                  <a:pt x="0" y="297567"/>
                </a:moveTo>
                <a:cubicBezTo>
                  <a:pt x="715" y="199101"/>
                  <a:pt x="1431" y="98479"/>
                  <a:pt x="2146" y="13"/>
                </a:cubicBezTo>
                <a:lnTo>
                  <a:pt x="412929" y="0"/>
                </a:lnTo>
                <a:cubicBezTo>
                  <a:pt x="411492" y="137289"/>
                  <a:pt x="416524" y="272421"/>
                  <a:pt x="415087" y="409710"/>
                </a:cubicBezTo>
                <a:lnTo>
                  <a:pt x="112132" y="409699"/>
                </a:lnTo>
                <a:cubicBezTo>
                  <a:pt x="50203" y="409699"/>
                  <a:pt x="0" y="359496"/>
                  <a:pt x="0" y="297567"/>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de-DE" b="1" dirty="0"/>
          </a:p>
        </p:txBody>
      </p:sp>
      <p:sp>
        <p:nvSpPr>
          <p:cNvPr id="2" name="Textplatzhalter 1"/>
          <p:cNvSpPr>
            <a:spLocks noGrp="1"/>
          </p:cNvSpPr>
          <p:nvPr>
            <p:ph type="body" sz="quarter" idx="10"/>
          </p:nvPr>
        </p:nvSpPr>
        <p:spPr/>
        <p:txBody>
          <a:bodyPr/>
          <a:lstStyle/>
          <a:p>
            <a:r>
              <a:rPr lang="de-DE" dirty="0"/>
              <a:t>1.</a:t>
            </a:r>
          </a:p>
        </p:txBody>
      </p:sp>
      <p:sp>
        <p:nvSpPr>
          <p:cNvPr id="7" name="Abgerundetes Rechteck 18"/>
          <p:cNvSpPr/>
          <p:nvPr/>
        </p:nvSpPr>
        <p:spPr>
          <a:xfrm>
            <a:off x="1099867" y="4840181"/>
            <a:ext cx="6925196" cy="1197499"/>
          </a:xfrm>
          <a:custGeom>
            <a:avLst/>
            <a:gdLst>
              <a:gd name="connsiteX0" fmla="*/ 0 w 6925196"/>
              <a:gd name="connsiteY0" fmla="*/ 199587 h 1197499"/>
              <a:gd name="connsiteX1" fmla="*/ 199587 w 6925196"/>
              <a:gd name="connsiteY1" fmla="*/ 0 h 1197499"/>
              <a:gd name="connsiteX2" fmla="*/ 6725609 w 6925196"/>
              <a:gd name="connsiteY2" fmla="*/ 0 h 1197499"/>
              <a:gd name="connsiteX3" fmla="*/ 6925196 w 6925196"/>
              <a:gd name="connsiteY3" fmla="*/ 199587 h 1197499"/>
              <a:gd name="connsiteX4" fmla="*/ 6925196 w 6925196"/>
              <a:gd name="connsiteY4" fmla="*/ 997912 h 1197499"/>
              <a:gd name="connsiteX5" fmla="*/ 6725609 w 6925196"/>
              <a:gd name="connsiteY5" fmla="*/ 1197499 h 1197499"/>
              <a:gd name="connsiteX6" fmla="*/ 199587 w 6925196"/>
              <a:gd name="connsiteY6" fmla="*/ 1197499 h 1197499"/>
              <a:gd name="connsiteX7" fmla="*/ 0 w 6925196"/>
              <a:gd name="connsiteY7" fmla="*/ 997912 h 1197499"/>
              <a:gd name="connsiteX8" fmla="*/ 0 w 6925196"/>
              <a:gd name="connsiteY8" fmla="*/ 199587 h 1197499"/>
              <a:gd name="connsiteX0" fmla="*/ 0 w 6925196"/>
              <a:gd name="connsiteY0" fmla="*/ 997912 h 1197499"/>
              <a:gd name="connsiteX1" fmla="*/ 199587 w 6925196"/>
              <a:gd name="connsiteY1" fmla="*/ 0 h 1197499"/>
              <a:gd name="connsiteX2" fmla="*/ 6725609 w 6925196"/>
              <a:gd name="connsiteY2" fmla="*/ 0 h 1197499"/>
              <a:gd name="connsiteX3" fmla="*/ 6925196 w 6925196"/>
              <a:gd name="connsiteY3" fmla="*/ 199587 h 1197499"/>
              <a:gd name="connsiteX4" fmla="*/ 6925196 w 6925196"/>
              <a:gd name="connsiteY4" fmla="*/ 997912 h 1197499"/>
              <a:gd name="connsiteX5" fmla="*/ 6725609 w 6925196"/>
              <a:gd name="connsiteY5" fmla="*/ 1197499 h 1197499"/>
              <a:gd name="connsiteX6" fmla="*/ 199587 w 6925196"/>
              <a:gd name="connsiteY6" fmla="*/ 1197499 h 1197499"/>
              <a:gd name="connsiteX7" fmla="*/ 0 w 6925196"/>
              <a:gd name="connsiteY7" fmla="*/ 997912 h 1197499"/>
              <a:gd name="connsiteX0" fmla="*/ 0 w 6925196"/>
              <a:gd name="connsiteY0" fmla="*/ 997912 h 1197499"/>
              <a:gd name="connsiteX1" fmla="*/ 1179 w 6925196"/>
              <a:gd name="connsiteY1" fmla="*/ 0 h 1197499"/>
              <a:gd name="connsiteX2" fmla="*/ 6725609 w 6925196"/>
              <a:gd name="connsiteY2" fmla="*/ 0 h 1197499"/>
              <a:gd name="connsiteX3" fmla="*/ 6925196 w 6925196"/>
              <a:gd name="connsiteY3" fmla="*/ 199587 h 1197499"/>
              <a:gd name="connsiteX4" fmla="*/ 6925196 w 6925196"/>
              <a:gd name="connsiteY4" fmla="*/ 997912 h 1197499"/>
              <a:gd name="connsiteX5" fmla="*/ 6725609 w 6925196"/>
              <a:gd name="connsiteY5" fmla="*/ 1197499 h 1197499"/>
              <a:gd name="connsiteX6" fmla="*/ 199587 w 6925196"/>
              <a:gd name="connsiteY6" fmla="*/ 1197499 h 1197499"/>
              <a:gd name="connsiteX7" fmla="*/ 0 w 6925196"/>
              <a:gd name="connsiteY7" fmla="*/ 997912 h 1197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25196" h="1197499">
                <a:moveTo>
                  <a:pt x="0" y="997912"/>
                </a:moveTo>
                <a:lnTo>
                  <a:pt x="1179" y="0"/>
                </a:lnTo>
                <a:lnTo>
                  <a:pt x="6725609" y="0"/>
                </a:lnTo>
                <a:cubicBezTo>
                  <a:pt x="6835838" y="0"/>
                  <a:pt x="6925196" y="89358"/>
                  <a:pt x="6925196" y="199587"/>
                </a:cubicBezTo>
                <a:lnTo>
                  <a:pt x="6925196" y="997912"/>
                </a:lnTo>
                <a:cubicBezTo>
                  <a:pt x="6925196" y="1108141"/>
                  <a:pt x="6835838" y="1197499"/>
                  <a:pt x="6725609" y="1197499"/>
                </a:cubicBezTo>
                <a:lnTo>
                  <a:pt x="199587" y="1197499"/>
                </a:lnTo>
                <a:cubicBezTo>
                  <a:pt x="89358" y="1197499"/>
                  <a:pt x="0" y="1108141"/>
                  <a:pt x="0" y="997912"/>
                </a:cubicBezTo>
                <a:close/>
              </a:path>
            </a:pathLst>
          </a:custGeom>
          <a:solidFill>
            <a:schemeClr val="bg1">
              <a:alpha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Titel 2"/>
          <p:cNvSpPr>
            <a:spLocks noGrp="1"/>
          </p:cNvSpPr>
          <p:nvPr>
            <p:ph type="title"/>
          </p:nvPr>
        </p:nvSpPr>
        <p:spPr/>
        <p:txBody>
          <a:bodyPr/>
          <a:lstStyle/>
          <a:p>
            <a:r>
              <a:rPr lang="de-DE" altLang="de-DE" dirty="0"/>
              <a:t>Warum überhaupt betriebliche Altersversorgung?</a:t>
            </a:r>
            <a:endParaRPr lang="de-DE" dirty="0"/>
          </a:p>
        </p:txBody>
      </p:sp>
    </p:spTree>
    <p:extLst>
      <p:ext uri="{BB962C8B-B14F-4D97-AF65-F5344CB8AC3E}">
        <p14:creationId xmlns:p14="http://schemas.microsoft.com/office/powerpoint/2010/main" val="3514848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dirty="0"/>
              <a:t>Betriebliche Altersversorgung:</a:t>
            </a:r>
            <a:br>
              <a:rPr lang="de-DE" altLang="de-DE" dirty="0"/>
            </a:br>
            <a:r>
              <a:rPr lang="de-DE" altLang="de-DE" dirty="0"/>
              <a:t>Ihre Chance als Minijobber auf eine bessere Rente</a:t>
            </a:r>
            <a:endParaRPr lang="de-DE" dirty="0"/>
          </a:p>
        </p:txBody>
      </p:sp>
      <p:sp>
        <p:nvSpPr>
          <p:cNvPr id="4" name="Textplatzhalter 3"/>
          <p:cNvSpPr>
            <a:spLocks noGrp="1"/>
          </p:cNvSpPr>
          <p:nvPr>
            <p:ph type="body" sz="quarter" idx="17"/>
          </p:nvPr>
        </p:nvSpPr>
        <p:spPr>
          <a:xfrm>
            <a:off x="358774" y="2600325"/>
            <a:ext cx="4213225" cy="2736850"/>
          </a:xfrm>
        </p:spPr>
        <p:txBody>
          <a:bodyPr>
            <a:normAutofit lnSpcReduction="10000"/>
          </a:bodyPr>
          <a:lstStyle/>
          <a:p>
            <a:pPr lvl="1"/>
            <a:r>
              <a:rPr lang="de-DE" altLang="de-DE" dirty="0"/>
              <a:t>Rechnen Sie als Minijobber damit, dass Ihre staatliche Rente im Alter </a:t>
            </a:r>
            <a:r>
              <a:rPr lang="de-DE" altLang="de-DE" b="1" dirty="0"/>
              <a:t>nicht zum Leben reichen wird</a:t>
            </a:r>
            <a:r>
              <a:rPr lang="de-DE" altLang="de-DE" dirty="0"/>
              <a:t>.</a:t>
            </a:r>
          </a:p>
          <a:p>
            <a:pPr lvl="1"/>
            <a:r>
              <a:rPr lang="de-DE" altLang="de-DE" dirty="0"/>
              <a:t>Aber: Die betriebliche Altersversorgung ermöglicht auch Minijobbern den </a:t>
            </a:r>
            <a:r>
              <a:rPr lang="de-DE" altLang="de-DE" b="1" dirty="0"/>
              <a:t>Aufbau einer soliden Betriebsrente</a:t>
            </a:r>
            <a:r>
              <a:rPr lang="de-DE" altLang="de-DE" dirty="0"/>
              <a:t>.</a:t>
            </a:r>
          </a:p>
          <a:p>
            <a:pPr lvl="1"/>
            <a:r>
              <a:rPr lang="de-DE" altLang="de-DE" dirty="0"/>
              <a:t>Bessere Förderung durch den Staat: </a:t>
            </a:r>
            <a:br>
              <a:rPr lang="de-DE" altLang="de-DE" dirty="0"/>
            </a:br>
            <a:r>
              <a:rPr lang="de-DE" altLang="de-DE" dirty="0"/>
              <a:t>Ein 2018 neu eingeführter Freibetrag auf die Grundsicherung sorgt dafür, dass Sie </a:t>
            </a:r>
            <a:r>
              <a:rPr lang="de-DE" altLang="de-DE" b="1" dirty="0"/>
              <a:t>im Ruhestand mehr haben</a:t>
            </a:r>
            <a:r>
              <a:rPr lang="de-DE" altLang="de-DE" dirty="0"/>
              <a:t>.</a:t>
            </a:r>
          </a:p>
        </p:txBody>
      </p:sp>
      <p:sp>
        <p:nvSpPr>
          <p:cNvPr id="3" name="Textplatzhalter 2"/>
          <p:cNvSpPr>
            <a:spLocks noGrp="1"/>
          </p:cNvSpPr>
          <p:nvPr>
            <p:ph type="body" sz="quarter" idx="21"/>
          </p:nvPr>
        </p:nvSpPr>
        <p:spPr/>
        <p:txBody>
          <a:bodyPr/>
          <a:lstStyle/>
          <a:p>
            <a:r>
              <a:rPr lang="de-DE" altLang="de-DE" dirty="0"/>
              <a:t>Besonders Minijobber erwerben nur niedrige Ansprüche auf gesetzliche Rente.</a:t>
            </a:r>
          </a:p>
        </p:txBody>
      </p:sp>
      <p:sp>
        <p:nvSpPr>
          <p:cNvPr id="28" name="Textplatzhalter 27"/>
          <p:cNvSpPr>
            <a:spLocks noGrp="1"/>
          </p:cNvSpPr>
          <p:nvPr>
            <p:ph type="body" sz="quarter" idx="24"/>
          </p:nvPr>
        </p:nvSpPr>
        <p:spPr/>
        <p:txBody>
          <a:bodyPr/>
          <a:lstStyle/>
          <a:p>
            <a:pPr>
              <a:defRPr/>
            </a:pPr>
            <a:r>
              <a:rPr lang="de-DE" dirty="0"/>
              <a:t>Die betriebliche Altersversorgung bietet Ihnen als Minijobber eine besondere Möglichkeit, frühzeitig etwas gegen die drohende Altersarmut zu unternehmen.</a:t>
            </a:r>
          </a:p>
        </p:txBody>
      </p:sp>
      <p:sp>
        <p:nvSpPr>
          <p:cNvPr id="6" name="Textplatzhalter 5"/>
          <p:cNvSpPr>
            <a:spLocks noGrp="1"/>
          </p:cNvSpPr>
          <p:nvPr>
            <p:ph type="body" sz="quarter" idx="18"/>
          </p:nvPr>
        </p:nvSpPr>
        <p:spPr/>
        <p:txBody>
          <a:bodyPr/>
          <a:lstStyle/>
          <a:p>
            <a:r>
              <a:rPr lang="de-DE" dirty="0"/>
              <a:t>1. </a:t>
            </a:r>
            <a:r>
              <a:rPr lang="de-DE" altLang="de-DE" dirty="0"/>
              <a:t>Warum überhaupt betriebliche Altersversorgung?</a:t>
            </a:r>
            <a:endParaRPr lang="de-DE" dirty="0"/>
          </a:p>
        </p:txBody>
      </p:sp>
      <p:sp>
        <p:nvSpPr>
          <p:cNvPr id="7" name="Datumsplatzhalter 6"/>
          <p:cNvSpPr>
            <a:spLocks noGrp="1"/>
          </p:cNvSpPr>
          <p:nvPr>
            <p:ph type="dt" sz="half" idx="25"/>
          </p:nvPr>
        </p:nvSpPr>
        <p:spPr/>
        <p:txBody>
          <a:bodyPr/>
          <a:lstStyle/>
          <a:p>
            <a:r>
              <a:rPr lang="de-DE"/>
              <a:t>01.01.2020</a:t>
            </a:r>
            <a:endParaRPr lang="de-DE" dirty="0"/>
          </a:p>
        </p:txBody>
      </p:sp>
      <p:sp>
        <p:nvSpPr>
          <p:cNvPr id="8" name="Fußzeilenplatzhalter 7"/>
          <p:cNvSpPr>
            <a:spLocks noGrp="1"/>
          </p:cNvSpPr>
          <p:nvPr>
            <p:ph type="ftr" sz="quarter" idx="26"/>
          </p:nvPr>
        </p:nvSpPr>
        <p:spPr/>
        <p:txBody>
          <a:bodyPr/>
          <a:lstStyle/>
          <a:p>
            <a:r>
              <a:rPr lang="de-DE" dirty="0"/>
              <a:t>Präsentation für Arbeitnehmer</a:t>
            </a:r>
          </a:p>
        </p:txBody>
      </p:sp>
      <p:sp>
        <p:nvSpPr>
          <p:cNvPr id="9" name="Foliennummernplatzhalter 8"/>
          <p:cNvSpPr>
            <a:spLocks noGrp="1"/>
          </p:cNvSpPr>
          <p:nvPr>
            <p:ph type="sldNum" sz="quarter" idx="27"/>
          </p:nvPr>
        </p:nvSpPr>
        <p:spPr/>
        <p:txBody>
          <a:bodyPr/>
          <a:lstStyle/>
          <a:p>
            <a:fld id="{BFE8ADF1-837C-463F-9856-54C2D771B21B}" type="slidenum">
              <a:rPr lang="de-DE" smtClean="0"/>
              <a:pPr/>
              <a:t>4</a:t>
            </a:fld>
            <a:endParaRPr lang="de-DE" dirty="0"/>
          </a:p>
        </p:txBody>
      </p:sp>
      <p:grpSp>
        <p:nvGrpSpPr>
          <p:cNvPr id="5" name="Gruppieren 4"/>
          <p:cNvGrpSpPr/>
          <p:nvPr/>
        </p:nvGrpSpPr>
        <p:grpSpPr>
          <a:xfrm>
            <a:off x="4946929" y="2636296"/>
            <a:ext cx="3348000" cy="2628000"/>
            <a:chOff x="4946929" y="2653736"/>
            <a:chExt cx="3348000" cy="2628000"/>
          </a:xfrm>
        </p:grpSpPr>
        <p:sp>
          <p:nvSpPr>
            <p:cNvPr id="12" name="Eine Ecke des Rechtecks abrunden 11"/>
            <p:cNvSpPr/>
            <p:nvPr/>
          </p:nvSpPr>
          <p:spPr>
            <a:xfrm>
              <a:off x="4946929" y="2653736"/>
              <a:ext cx="1607589" cy="2352091"/>
            </a:xfrm>
            <a:prstGeom prst="round1Rect">
              <a:avLst>
                <a:gd name="adj" fmla="val 727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de-DE" dirty="0"/>
            </a:p>
          </p:txBody>
        </p:sp>
        <p:grpSp>
          <p:nvGrpSpPr>
            <p:cNvPr id="14" name="Gruppieren 13"/>
            <p:cNvGrpSpPr>
              <a:grpSpLocks/>
            </p:cNvGrpSpPr>
            <p:nvPr/>
          </p:nvGrpSpPr>
          <p:grpSpPr bwMode="auto">
            <a:xfrm>
              <a:off x="6676652" y="3600365"/>
              <a:ext cx="1607590" cy="1405462"/>
              <a:chOff x="6780213" y="3694758"/>
              <a:chExt cx="1671638" cy="1463675"/>
            </a:xfrm>
          </p:grpSpPr>
          <p:sp>
            <p:nvSpPr>
              <p:cNvPr id="25" name="Rechteck 24"/>
              <p:cNvSpPr/>
              <p:nvPr/>
            </p:nvSpPr>
            <p:spPr>
              <a:xfrm>
                <a:off x="6780213" y="3694758"/>
                <a:ext cx="1671638" cy="1463675"/>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de-DE" dirty="0"/>
              </a:p>
            </p:txBody>
          </p:sp>
          <p:sp>
            <p:nvSpPr>
              <p:cNvPr id="26" name="Textfeld 23"/>
              <p:cNvSpPr txBox="1">
                <a:spLocks noChangeArrowheads="1"/>
              </p:cNvSpPr>
              <p:nvPr/>
            </p:nvSpPr>
            <p:spPr bwMode="auto">
              <a:xfrm>
                <a:off x="6780213" y="3694758"/>
                <a:ext cx="1656000" cy="618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72000" tIns="216000" rIns="0" bIns="0"/>
              <a:lstStyle>
                <a:lvl1pPr>
                  <a:spcBef>
                    <a:spcPts val="1600"/>
                  </a:spcBef>
                  <a:defRPr sz="1700">
                    <a:solidFill>
                      <a:schemeClr val="tx1"/>
                    </a:solidFill>
                    <a:latin typeface="Arial" panose="020B0604020202020204" pitchFamily="34" charset="0"/>
                  </a:defRPr>
                </a:lvl1pPr>
                <a:lvl2pPr marL="742950" indent="-285750">
                  <a:spcBef>
                    <a:spcPts val="1600"/>
                  </a:spcBef>
                  <a:buSzPct val="100000"/>
                  <a:buBlip>
                    <a:blip r:embed="rId2"/>
                  </a:buBlip>
                  <a:defRPr sz="1700">
                    <a:solidFill>
                      <a:schemeClr val="tx1"/>
                    </a:solidFill>
                    <a:latin typeface="Arial" panose="020B0604020202020204" pitchFamily="34" charset="0"/>
                  </a:defRPr>
                </a:lvl2pPr>
                <a:lvl3pPr marL="1143000" indent="-228600">
                  <a:spcBef>
                    <a:spcPts val="1600"/>
                  </a:spcBef>
                  <a:buSzPct val="100000"/>
                  <a:buBlip>
                    <a:blip r:embed="rId2"/>
                  </a:buBlip>
                  <a:defRPr sz="1700">
                    <a:solidFill>
                      <a:schemeClr val="tx1"/>
                    </a:solidFill>
                    <a:latin typeface="Arial" panose="020B0604020202020204" pitchFamily="34" charset="0"/>
                  </a:defRPr>
                </a:lvl3pPr>
                <a:lvl4pPr marL="1600200" indent="-228600">
                  <a:spcBef>
                    <a:spcPts val="1600"/>
                  </a:spcBef>
                  <a:buSzPct val="100000"/>
                  <a:buBlip>
                    <a:blip r:embed="rId2"/>
                  </a:buBlip>
                  <a:defRPr sz="1700">
                    <a:solidFill>
                      <a:schemeClr val="tx1"/>
                    </a:solidFill>
                    <a:latin typeface="Arial" panose="020B0604020202020204" pitchFamily="34" charset="0"/>
                  </a:defRPr>
                </a:lvl4pPr>
                <a:lvl5pPr marL="2057400" indent="-228600">
                  <a:spcBef>
                    <a:spcPts val="1600"/>
                  </a:spcBef>
                  <a:buSzPct val="100000"/>
                  <a:buBlip>
                    <a:blip r:embed="rId2"/>
                  </a:buBlip>
                  <a:defRPr sz="1700">
                    <a:solidFill>
                      <a:schemeClr val="tx1"/>
                    </a:solidFill>
                    <a:latin typeface="Arial" panose="020B0604020202020204" pitchFamily="34" charset="0"/>
                  </a:defRPr>
                </a:lvl5pPr>
                <a:lvl6pPr marL="2514600" indent="-228600"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6pPr>
                <a:lvl7pPr marL="2971800" indent="-228600"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7pPr>
                <a:lvl8pPr marL="3429000" indent="-228600"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8pPr>
                <a:lvl9pPr marL="3886200" indent="-228600"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9pPr>
              </a:lstStyle>
              <a:p>
                <a:pPr eaLnBrk="1" hangingPunct="1">
                  <a:spcBef>
                    <a:spcPct val="0"/>
                  </a:spcBef>
                </a:pPr>
                <a:r>
                  <a:rPr lang="de-DE" altLang="de-DE" sz="1300" b="1">
                    <a:solidFill>
                      <a:schemeClr val="bg1"/>
                    </a:solidFill>
                  </a:rPr>
                  <a:t>gesetzliche</a:t>
                </a:r>
                <a:br>
                  <a:rPr lang="de-DE" altLang="de-DE" sz="1300" b="1">
                    <a:solidFill>
                      <a:schemeClr val="bg1"/>
                    </a:solidFill>
                  </a:rPr>
                </a:br>
                <a:r>
                  <a:rPr lang="de-DE" altLang="de-DE" sz="1300" b="1">
                    <a:solidFill>
                      <a:schemeClr val="bg1"/>
                    </a:solidFill>
                  </a:rPr>
                  <a:t>Nettorente</a:t>
                </a:r>
              </a:p>
            </p:txBody>
          </p:sp>
        </p:grpSp>
        <p:sp>
          <p:nvSpPr>
            <p:cNvPr id="23" name="Eine Ecke des Rechtecks abrunden 22"/>
            <p:cNvSpPr/>
            <p:nvPr/>
          </p:nvSpPr>
          <p:spPr bwMode="auto">
            <a:xfrm>
              <a:off x="6676652" y="3107996"/>
              <a:ext cx="1607590" cy="446639"/>
            </a:xfrm>
            <a:prstGeom prst="round1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de-DE" dirty="0"/>
            </a:p>
          </p:txBody>
        </p:sp>
        <p:sp>
          <p:nvSpPr>
            <p:cNvPr id="16" name="Textfeld 15"/>
            <p:cNvSpPr txBox="1"/>
            <p:nvPr/>
          </p:nvSpPr>
          <p:spPr>
            <a:xfrm rot="21180000">
              <a:off x="6962096" y="4275980"/>
              <a:ext cx="1225156" cy="516530"/>
            </a:xfrm>
            <a:prstGeom prst="roundRect">
              <a:avLst>
                <a:gd name="adj" fmla="val 9773"/>
              </a:avLst>
            </a:prstGeom>
            <a:solidFill>
              <a:schemeClr val="bg1">
                <a:lumMod val="85000"/>
              </a:schemeClr>
            </a:solidFill>
            <a:ln>
              <a:solidFill>
                <a:schemeClr val="bg1"/>
              </a:solidFill>
            </a:ln>
          </p:spPr>
          <p:txBody>
            <a:bodyPr wrap="square" lIns="72000" tIns="36000" rIns="36000" bIns="36000">
              <a:spAutoFit/>
            </a:bodyPr>
            <a:lstStyle/>
            <a:p>
              <a:pPr eaLnBrk="1" hangingPunct="1">
                <a:defRPr/>
              </a:pPr>
              <a:r>
                <a:rPr lang="de-DE" sz="1100" dirty="0">
                  <a:latin typeface="Arial" charset="0"/>
                  <a:cs typeface="Arial" charset="0"/>
                </a:rPr>
                <a:t>monatlich 906,- €</a:t>
              </a:r>
            </a:p>
            <a:p>
              <a:pPr eaLnBrk="1" hangingPunct="1">
                <a:defRPr/>
              </a:pPr>
              <a:r>
                <a:rPr lang="de-DE" sz="800" dirty="0">
                  <a:latin typeface="Arial" charset="0"/>
                  <a:cs typeface="Arial" charset="0"/>
                </a:rPr>
                <a:t>Durchschnittsrente</a:t>
              </a:r>
              <a:br>
                <a:rPr lang="de-DE" sz="800" dirty="0">
                  <a:latin typeface="Arial" charset="0"/>
                  <a:cs typeface="Arial" charset="0"/>
                </a:rPr>
              </a:br>
              <a:r>
                <a:rPr lang="de-DE" sz="800" dirty="0">
                  <a:latin typeface="Arial" charset="0"/>
                  <a:cs typeface="Arial" charset="0"/>
                </a:rPr>
                <a:t>in Deutschland</a:t>
              </a:r>
            </a:p>
          </p:txBody>
        </p:sp>
        <p:grpSp>
          <p:nvGrpSpPr>
            <p:cNvPr id="17" name="Gruppieren 16"/>
            <p:cNvGrpSpPr>
              <a:grpSpLocks/>
            </p:cNvGrpSpPr>
            <p:nvPr/>
          </p:nvGrpSpPr>
          <p:grpSpPr bwMode="auto">
            <a:xfrm>
              <a:off x="4946929" y="5089666"/>
              <a:ext cx="1607589" cy="192070"/>
              <a:chOff x="4981575" y="5245169"/>
              <a:chExt cx="1671638" cy="200055"/>
            </a:xfrm>
          </p:grpSpPr>
          <p:cxnSp>
            <p:nvCxnSpPr>
              <p:cNvPr id="21" name="Gerade Verbindung mit Pfeil 20"/>
              <p:cNvCxnSpPr/>
              <p:nvPr/>
            </p:nvCxnSpPr>
            <p:spPr>
              <a:xfrm>
                <a:off x="4981575" y="5345197"/>
                <a:ext cx="1671638" cy="0"/>
              </a:xfrm>
              <a:prstGeom prst="straightConnector1">
                <a:avLst/>
              </a:prstGeom>
              <a:ln>
                <a:solidFill>
                  <a:schemeClr val="tx2"/>
                </a:solidFill>
                <a:headEnd type="none" w="med" len="med"/>
                <a:tailEnd type="triangle" w="lg" len="lg"/>
              </a:ln>
              <a:effectLst/>
            </p:spPr>
            <p:style>
              <a:lnRef idx="2">
                <a:schemeClr val="accent1"/>
              </a:lnRef>
              <a:fillRef idx="0">
                <a:schemeClr val="accent1"/>
              </a:fillRef>
              <a:effectRef idx="1">
                <a:schemeClr val="accent1"/>
              </a:effectRef>
              <a:fontRef idx="minor">
                <a:schemeClr val="tx1"/>
              </a:fontRef>
            </p:style>
          </p:cxnSp>
          <p:sp>
            <p:nvSpPr>
              <p:cNvPr id="22" name="Textfeld 7"/>
              <p:cNvSpPr txBox="1">
                <a:spLocks noChangeArrowheads="1"/>
              </p:cNvSpPr>
              <p:nvPr/>
            </p:nvSpPr>
            <p:spPr bwMode="auto">
              <a:xfrm>
                <a:off x="5210374" y="5245169"/>
                <a:ext cx="1214041" cy="200055"/>
              </a:xfrm>
              <a:prstGeom prst="rect">
                <a:avLst/>
              </a:prstGeom>
              <a:solidFill>
                <a:srgbClr val="F0F0F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36000" tIns="0" rIns="36000" bIns="0">
                <a:spAutoFit/>
              </a:bodyPr>
              <a:lstStyle>
                <a:lvl1pPr>
                  <a:spcBef>
                    <a:spcPts val="1600"/>
                  </a:spcBef>
                  <a:defRPr sz="1700">
                    <a:solidFill>
                      <a:schemeClr val="tx1"/>
                    </a:solidFill>
                    <a:latin typeface="Arial" panose="020B0604020202020204" pitchFamily="34" charset="0"/>
                  </a:defRPr>
                </a:lvl1pPr>
                <a:lvl2pPr marL="742950" indent="-285750">
                  <a:spcBef>
                    <a:spcPts val="1600"/>
                  </a:spcBef>
                  <a:buSzPct val="100000"/>
                  <a:buBlip>
                    <a:blip r:embed="rId2"/>
                  </a:buBlip>
                  <a:defRPr sz="1700">
                    <a:solidFill>
                      <a:schemeClr val="tx1"/>
                    </a:solidFill>
                    <a:latin typeface="Arial" panose="020B0604020202020204" pitchFamily="34" charset="0"/>
                  </a:defRPr>
                </a:lvl2pPr>
                <a:lvl3pPr marL="1143000" indent="-228600">
                  <a:spcBef>
                    <a:spcPts val="1600"/>
                  </a:spcBef>
                  <a:buSzPct val="100000"/>
                  <a:buBlip>
                    <a:blip r:embed="rId2"/>
                  </a:buBlip>
                  <a:defRPr sz="1700">
                    <a:solidFill>
                      <a:schemeClr val="tx1"/>
                    </a:solidFill>
                    <a:latin typeface="Arial" panose="020B0604020202020204" pitchFamily="34" charset="0"/>
                  </a:defRPr>
                </a:lvl3pPr>
                <a:lvl4pPr marL="1600200" indent="-228600">
                  <a:spcBef>
                    <a:spcPts val="1600"/>
                  </a:spcBef>
                  <a:buSzPct val="100000"/>
                  <a:buBlip>
                    <a:blip r:embed="rId2"/>
                  </a:buBlip>
                  <a:defRPr sz="1700">
                    <a:solidFill>
                      <a:schemeClr val="tx1"/>
                    </a:solidFill>
                    <a:latin typeface="Arial" panose="020B0604020202020204" pitchFamily="34" charset="0"/>
                  </a:defRPr>
                </a:lvl4pPr>
                <a:lvl5pPr marL="2057400" indent="-228600">
                  <a:spcBef>
                    <a:spcPts val="1600"/>
                  </a:spcBef>
                  <a:buSzPct val="100000"/>
                  <a:buBlip>
                    <a:blip r:embed="rId2"/>
                  </a:buBlip>
                  <a:defRPr sz="1700">
                    <a:solidFill>
                      <a:schemeClr val="tx1"/>
                    </a:solidFill>
                    <a:latin typeface="Arial" panose="020B0604020202020204" pitchFamily="34" charset="0"/>
                  </a:defRPr>
                </a:lvl5pPr>
                <a:lvl6pPr marL="2514600" indent="-228600"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6pPr>
                <a:lvl7pPr marL="2971800" indent="-228600"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7pPr>
                <a:lvl8pPr marL="3429000" indent="-228600"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8pPr>
                <a:lvl9pPr marL="3886200" indent="-228600"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9pPr>
              </a:lstStyle>
              <a:p>
                <a:pPr eaLnBrk="1" hangingPunct="1">
                  <a:spcBef>
                    <a:spcPct val="0"/>
                  </a:spcBef>
                </a:pPr>
                <a:r>
                  <a:rPr lang="de-DE" altLang="de-DE" sz="1300" b="1" dirty="0">
                    <a:solidFill>
                      <a:schemeClr val="tx2"/>
                    </a:solidFill>
                  </a:rPr>
                  <a:t>Erwerbsphase</a:t>
                </a:r>
              </a:p>
            </p:txBody>
          </p:sp>
        </p:grpSp>
        <p:grpSp>
          <p:nvGrpSpPr>
            <p:cNvPr id="18" name="Gruppieren 17"/>
            <p:cNvGrpSpPr>
              <a:grpSpLocks/>
            </p:cNvGrpSpPr>
            <p:nvPr/>
          </p:nvGrpSpPr>
          <p:grpSpPr bwMode="auto">
            <a:xfrm>
              <a:off x="6687340" y="5089666"/>
              <a:ext cx="1607589" cy="192070"/>
              <a:chOff x="6791325" y="5245169"/>
              <a:chExt cx="1671638" cy="200055"/>
            </a:xfrm>
          </p:grpSpPr>
          <p:cxnSp>
            <p:nvCxnSpPr>
              <p:cNvPr id="19" name="Gerade Verbindung mit Pfeil 18"/>
              <p:cNvCxnSpPr/>
              <p:nvPr/>
            </p:nvCxnSpPr>
            <p:spPr>
              <a:xfrm>
                <a:off x="6791325" y="5337258"/>
                <a:ext cx="1671638" cy="0"/>
              </a:xfrm>
              <a:prstGeom prst="straightConnector1">
                <a:avLst/>
              </a:prstGeom>
              <a:ln>
                <a:solidFill>
                  <a:schemeClr val="accent5"/>
                </a:solidFill>
                <a:headEnd type="none" w="med" len="med"/>
                <a:tailEnd type="triangle" w="lg" len="lg"/>
              </a:ln>
              <a:effectLst/>
            </p:spPr>
            <p:style>
              <a:lnRef idx="2">
                <a:schemeClr val="accent1"/>
              </a:lnRef>
              <a:fillRef idx="0">
                <a:schemeClr val="accent1"/>
              </a:fillRef>
              <a:effectRef idx="1">
                <a:schemeClr val="accent1"/>
              </a:effectRef>
              <a:fontRef idx="minor">
                <a:schemeClr val="tx1"/>
              </a:fontRef>
            </p:style>
          </p:cxnSp>
          <p:sp>
            <p:nvSpPr>
              <p:cNvPr id="20" name="Textfeld 19"/>
              <p:cNvSpPr txBox="1"/>
              <p:nvPr/>
            </p:nvSpPr>
            <p:spPr>
              <a:xfrm>
                <a:off x="7064375" y="5245169"/>
                <a:ext cx="1125538" cy="200055"/>
              </a:xfrm>
              <a:prstGeom prst="rect">
                <a:avLst/>
              </a:prstGeom>
              <a:solidFill>
                <a:srgbClr val="F0F0F0"/>
              </a:solidFill>
            </p:spPr>
            <p:txBody>
              <a:bodyPr wrap="none" lIns="36000" tIns="0" rIns="36000" bIns="0">
                <a:spAutoFit/>
              </a:bodyPr>
              <a:lstStyle/>
              <a:p>
                <a:pPr eaLnBrk="1" hangingPunct="1">
                  <a:defRPr/>
                </a:pPr>
                <a:r>
                  <a:rPr lang="de-DE" sz="1300" b="1" dirty="0">
                    <a:solidFill>
                      <a:schemeClr val="accent5"/>
                    </a:solidFill>
                    <a:latin typeface="Arial" charset="0"/>
                    <a:cs typeface="Arial" charset="0"/>
                  </a:rPr>
                  <a:t>Rentenphase</a:t>
                </a:r>
              </a:p>
            </p:txBody>
          </p:sp>
        </p:grpSp>
        <p:sp>
          <p:nvSpPr>
            <p:cNvPr id="30" name="Textfeld 20"/>
            <p:cNvSpPr txBox="1">
              <a:spLocks noChangeArrowheads="1"/>
            </p:cNvSpPr>
            <p:nvPr/>
          </p:nvSpPr>
          <p:spPr bwMode="auto">
            <a:xfrm>
              <a:off x="4946929" y="2653736"/>
              <a:ext cx="1592323" cy="4024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72000" tIns="216000" rIns="0" bIns="0"/>
            <a:lstStyle>
              <a:lvl1pPr>
                <a:spcBef>
                  <a:spcPts val="1600"/>
                </a:spcBef>
                <a:defRPr sz="1700">
                  <a:solidFill>
                    <a:schemeClr val="tx1"/>
                  </a:solidFill>
                  <a:latin typeface="Arial" panose="020B0604020202020204" pitchFamily="34" charset="0"/>
                </a:defRPr>
              </a:lvl1pPr>
              <a:lvl2pPr marL="742950" indent="-285750">
                <a:spcBef>
                  <a:spcPts val="1600"/>
                </a:spcBef>
                <a:buSzPct val="100000"/>
                <a:buBlip>
                  <a:blip r:embed="rId2"/>
                </a:buBlip>
                <a:defRPr sz="1700">
                  <a:solidFill>
                    <a:schemeClr val="tx1"/>
                  </a:solidFill>
                  <a:latin typeface="Arial" panose="020B0604020202020204" pitchFamily="34" charset="0"/>
                </a:defRPr>
              </a:lvl2pPr>
              <a:lvl3pPr marL="1143000" indent="-228600">
                <a:spcBef>
                  <a:spcPts val="1600"/>
                </a:spcBef>
                <a:buSzPct val="100000"/>
                <a:buBlip>
                  <a:blip r:embed="rId2"/>
                </a:buBlip>
                <a:defRPr sz="1700">
                  <a:solidFill>
                    <a:schemeClr val="tx1"/>
                  </a:solidFill>
                  <a:latin typeface="Arial" panose="020B0604020202020204" pitchFamily="34" charset="0"/>
                </a:defRPr>
              </a:lvl3pPr>
              <a:lvl4pPr marL="1600200" indent="-228600">
                <a:spcBef>
                  <a:spcPts val="1600"/>
                </a:spcBef>
                <a:buSzPct val="100000"/>
                <a:buBlip>
                  <a:blip r:embed="rId2"/>
                </a:buBlip>
                <a:defRPr sz="1700">
                  <a:solidFill>
                    <a:schemeClr val="tx1"/>
                  </a:solidFill>
                  <a:latin typeface="Arial" panose="020B0604020202020204" pitchFamily="34" charset="0"/>
                </a:defRPr>
              </a:lvl4pPr>
              <a:lvl5pPr marL="2057400" indent="-228600">
                <a:spcBef>
                  <a:spcPts val="1600"/>
                </a:spcBef>
                <a:buSzPct val="100000"/>
                <a:buBlip>
                  <a:blip r:embed="rId2"/>
                </a:buBlip>
                <a:defRPr sz="1700">
                  <a:solidFill>
                    <a:schemeClr val="tx1"/>
                  </a:solidFill>
                  <a:latin typeface="Arial" panose="020B0604020202020204" pitchFamily="34" charset="0"/>
                </a:defRPr>
              </a:lvl5pPr>
              <a:lvl6pPr marL="2514600" indent="-228600"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6pPr>
              <a:lvl7pPr marL="2971800" indent="-228600"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7pPr>
              <a:lvl8pPr marL="3429000" indent="-228600"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8pPr>
              <a:lvl9pPr marL="3886200" indent="-228600"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9pPr>
            </a:lstStyle>
            <a:p>
              <a:pPr eaLnBrk="1" hangingPunct="1">
                <a:spcBef>
                  <a:spcPct val="0"/>
                </a:spcBef>
              </a:pPr>
              <a:r>
                <a:rPr lang="de-DE" altLang="de-DE" sz="1300" b="1" dirty="0">
                  <a:solidFill>
                    <a:schemeClr val="bg1"/>
                  </a:solidFill>
                </a:rPr>
                <a:t>Nettoeinkommen</a:t>
              </a:r>
            </a:p>
          </p:txBody>
        </p:sp>
        <p:sp>
          <p:nvSpPr>
            <p:cNvPr id="32" name="Textfeld 24"/>
            <p:cNvSpPr txBox="1">
              <a:spLocks noChangeArrowheads="1"/>
            </p:cNvSpPr>
            <p:nvPr/>
          </p:nvSpPr>
          <p:spPr bwMode="auto">
            <a:xfrm>
              <a:off x="6676652" y="3117069"/>
              <a:ext cx="1592551" cy="451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72000" tIns="0" rIns="0" bIns="0" anchor="ctr"/>
            <a:lstStyle>
              <a:lvl1pPr>
                <a:spcBef>
                  <a:spcPts val="1600"/>
                </a:spcBef>
                <a:defRPr sz="1700">
                  <a:solidFill>
                    <a:schemeClr val="tx1"/>
                  </a:solidFill>
                  <a:latin typeface="Arial" panose="020B0604020202020204" pitchFamily="34" charset="0"/>
                </a:defRPr>
              </a:lvl1pPr>
              <a:lvl2pPr marL="742950" indent="-285750">
                <a:spcBef>
                  <a:spcPts val="1600"/>
                </a:spcBef>
                <a:buSzPct val="100000"/>
                <a:buBlip>
                  <a:blip r:embed="rId2"/>
                </a:buBlip>
                <a:defRPr sz="1700">
                  <a:solidFill>
                    <a:schemeClr val="tx1"/>
                  </a:solidFill>
                  <a:latin typeface="Arial" panose="020B0604020202020204" pitchFamily="34" charset="0"/>
                </a:defRPr>
              </a:lvl2pPr>
              <a:lvl3pPr marL="1143000" indent="-228600">
                <a:spcBef>
                  <a:spcPts val="1600"/>
                </a:spcBef>
                <a:buSzPct val="100000"/>
                <a:buBlip>
                  <a:blip r:embed="rId2"/>
                </a:buBlip>
                <a:defRPr sz="1700">
                  <a:solidFill>
                    <a:schemeClr val="tx1"/>
                  </a:solidFill>
                  <a:latin typeface="Arial" panose="020B0604020202020204" pitchFamily="34" charset="0"/>
                </a:defRPr>
              </a:lvl3pPr>
              <a:lvl4pPr marL="1600200" indent="-228600">
                <a:spcBef>
                  <a:spcPts val="1600"/>
                </a:spcBef>
                <a:buSzPct val="100000"/>
                <a:buBlip>
                  <a:blip r:embed="rId2"/>
                </a:buBlip>
                <a:defRPr sz="1700">
                  <a:solidFill>
                    <a:schemeClr val="tx1"/>
                  </a:solidFill>
                  <a:latin typeface="Arial" panose="020B0604020202020204" pitchFamily="34" charset="0"/>
                </a:defRPr>
              </a:lvl4pPr>
              <a:lvl5pPr marL="2057400" indent="-228600">
                <a:spcBef>
                  <a:spcPts val="1600"/>
                </a:spcBef>
                <a:buSzPct val="100000"/>
                <a:buBlip>
                  <a:blip r:embed="rId2"/>
                </a:buBlip>
                <a:defRPr sz="1700">
                  <a:solidFill>
                    <a:schemeClr val="tx1"/>
                  </a:solidFill>
                  <a:latin typeface="Arial" panose="020B0604020202020204" pitchFamily="34" charset="0"/>
                </a:defRPr>
              </a:lvl5pPr>
              <a:lvl6pPr marL="2514600" indent="-228600"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6pPr>
              <a:lvl7pPr marL="2971800" indent="-228600"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7pPr>
              <a:lvl8pPr marL="3429000" indent="-228600"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8pPr>
              <a:lvl9pPr marL="3886200" indent="-228600"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9pPr>
            </a:lstStyle>
            <a:p>
              <a:pPr eaLnBrk="1" hangingPunct="1">
                <a:spcBef>
                  <a:spcPct val="0"/>
                </a:spcBef>
              </a:pPr>
              <a:r>
                <a:rPr lang="de-DE" altLang="de-DE" sz="2000" b="1" dirty="0" err="1">
                  <a:solidFill>
                    <a:schemeClr val="bg1"/>
                  </a:solidFill>
                </a:rPr>
                <a:t>bAV</a:t>
              </a:r>
              <a:endParaRPr lang="de-DE" altLang="de-DE" sz="2000" b="1" dirty="0">
                <a:solidFill>
                  <a:schemeClr val="bg1"/>
                </a:solidFill>
              </a:endParaRPr>
            </a:p>
          </p:txBody>
        </p:sp>
      </p:grpSp>
      <p:sp>
        <p:nvSpPr>
          <p:cNvPr id="37" name="Textplatzhalter 36"/>
          <p:cNvSpPr>
            <a:spLocks noGrp="1"/>
          </p:cNvSpPr>
          <p:nvPr>
            <p:ph type="body" sz="quarter" idx="23"/>
          </p:nvPr>
        </p:nvSpPr>
        <p:spPr/>
        <p:txBody>
          <a:bodyPr/>
          <a:lstStyle/>
          <a:p>
            <a:r>
              <a:rPr lang="de-DE" dirty="0"/>
              <a:t>Quelle: Statistik der Deutschen Rentenversicherung - Rentenversicherung in Zahlen 2019</a:t>
            </a:r>
          </a:p>
        </p:txBody>
      </p:sp>
    </p:spTree>
    <p:extLst>
      <p:ext uri="{BB962C8B-B14F-4D97-AF65-F5344CB8AC3E}">
        <p14:creationId xmlns:p14="http://schemas.microsoft.com/office/powerpoint/2010/main" val="22064678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a:t>Der Freibetrag macht die bAV attraktiv</a:t>
            </a:r>
            <a:endParaRPr lang="de-DE" dirty="0"/>
          </a:p>
        </p:txBody>
      </p:sp>
      <p:sp>
        <p:nvSpPr>
          <p:cNvPr id="3" name="Textplatzhalter 2"/>
          <p:cNvSpPr>
            <a:spLocks noGrp="1"/>
          </p:cNvSpPr>
          <p:nvPr>
            <p:ph type="body" sz="quarter" idx="19"/>
          </p:nvPr>
        </p:nvSpPr>
        <p:spPr>
          <a:xfrm>
            <a:off x="358776" y="1744663"/>
            <a:ext cx="8426450" cy="944953"/>
          </a:xfrm>
        </p:spPr>
        <p:txBody>
          <a:bodyPr/>
          <a:lstStyle/>
          <a:p>
            <a:r>
              <a:rPr lang="de-DE" dirty="0"/>
              <a:t>Der Staat belohnt den Aufbau einer eigenen Altersversorgung. Zusatzrenten aus privater oder betrieblicher Vorsorge werden nicht mehr voll auf die Grundsicherung angerechnet.</a:t>
            </a:r>
          </a:p>
          <a:p>
            <a:endParaRPr lang="de-DE" dirty="0"/>
          </a:p>
        </p:txBody>
      </p:sp>
      <p:sp>
        <p:nvSpPr>
          <p:cNvPr id="5" name="Textplatzhalter 4"/>
          <p:cNvSpPr>
            <a:spLocks noGrp="1"/>
          </p:cNvSpPr>
          <p:nvPr>
            <p:ph type="body" sz="quarter" idx="21"/>
          </p:nvPr>
        </p:nvSpPr>
        <p:spPr>
          <a:xfrm>
            <a:off x="358776" y="2733676"/>
            <a:ext cx="4033838" cy="3600450"/>
          </a:xfrm>
        </p:spPr>
        <p:txBody>
          <a:bodyPr/>
          <a:lstStyle/>
          <a:p>
            <a:pPr lvl="1"/>
            <a:r>
              <a:rPr lang="de-DE" dirty="0"/>
              <a:t>Der § 82 Abs. 4 SGB XII enthält die Regelung zum Freibetrag auf die Grundsicherung</a:t>
            </a:r>
          </a:p>
          <a:p>
            <a:pPr lvl="1"/>
            <a:r>
              <a:rPr lang="de-DE" dirty="0"/>
              <a:t>Der Freibetrag gilt für:</a:t>
            </a:r>
          </a:p>
          <a:p>
            <a:pPr marL="536575" lvl="1"/>
            <a:r>
              <a:rPr lang="de-DE" dirty="0"/>
              <a:t>bAV</a:t>
            </a:r>
          </a:p>
          <a:p>
            <a:pPr marL="536575" lvl="1"/>
            <a:r>
              <a:rPr lang="de-DE" dirty="0"/>
              <a:t>Riesterrenten</a:t>
            </a:r>
          </a:p>
          <a:p>
            <a:pPr marL="536575" lvl="1"/>
            <a:r>
              <a:rPr lang="de-DE" dirty="0"/>
              <a:t>Basisrente ("Rürup")</a:t>
            </a:r>
          </a:p>
          <a:p>
            <a:pPr marL="536575" lvl="1"/>
            <a:r>
              <a:rPr lang="de-DE" dirty="0"/>
              <a:t>freiwillige Beiträge zur gesetzlichen Rentenversicherung</a:t>
            </a:r>
          </a:p>
        </p:txBody>
      </p:sp>
      <p:sp>
        <p:nvSpPr>
          <p:cNvPr id="7" name="Textplatzhalter 6"/>
          <p:cNvSpPr>
            <a:spLocks noGrp="1"/>
          </p:cNvSpPr>
          <p:nvPr>
            <p:ph type="body" sz="quarter" idx="18"/>
          </p:nvPr>
        </p:nvSpPr>
        <p:spPr/>
        <p:txBody>
          <a:bodyPr/>
          <a:lstStyle/>
          <a:p>
            <a:r>
              <a:rPr lang="de-DE"/>
              <a:t>1. </a:t>
            </a:r>
            <a:r>
              <a:rPr lang="de-DE" altLang="de-DE"/>
              <a:t>Warum überhaupt betriebliche Altersversorgung?</a:t>
            </a:r>
            <a:endParaRPr lang="de-DE" dirty="0"/>
          </a:p>
        </p:txBody>
      </p:sp>
      <p:sp>
        <p:nvSpPr>
          <p:cNvPr id="8" name="Datumsplatzhalter 7"/>
          <p:cNvSpPr>
            <a:spLocks noGrp="1"/>
          </p:cNvSpPr>
          <p:nvPr>
            <p:ph type="dt" sz="half" idx="23"/>
          </p:nvPr>
        </p:nvSpPr>
        <p:spPr/>
        <p:txBody>
          <a:bodyPr/>
          <a:lstStyle/>
          <a:p>
            <a:r>
              <a:rPr lang="de-DE"/>
              <a:t>01.01.2020</a:t>
            </a:r>
            <a:endParaRPr lang="de-DE" dirty="0"/>
          </a:p>
        </p:txBody>
      </p:sp>
      <p:sp>
        <p:nvSpPr>
          <p:cNvPr id="9" name="Fußzeilenplatzhalter 8"/>
          <p:cNvSpPr>
            <a:spLocks noGrp="1"/>
          </p:cNvSpPr>
          <p:nvPr>
            <p:ph type="ftr" sz="quarter" idx="24"/>
          </p:nvPr>
        </p:nvSpPr>
        <p:spPr/>
        <p:txBody>
          <a:bodyPr/>
          <a:lstStyle/>
          <a:p>
            <a:r>
              <a:rPr lang="de-DE"/>
              <a:t>Präsentation für Arbeitnehmer</a:t>
            </a:r>
            <a:endParaRPr lang="de-DE" dirty="0"/>
          </a:p>
        </p:txBody>
      </p:sp>
      <p:sp>
        <p:nvSpPr>
          <p:cNvPr id="10" name="Foliennummernplatzhalter 9"/>
          <p:cNvSpPr>
            <a:spLocks noGrp="1"/>
          </p:cNvSpPr>
          <p:nvPr>
            <p:ph type="sldNum" sz="quarter" idx="25"/>
          </p:nvPr>
        </p:nvSpPr>
        <p:spPr/>
        <p:txBody>
          <a:bodyPr/>
          <a:lstStyle/>
          <a:p>
            <a:fld id="{BFE8ADF1-837C-463F-9856-54C2D771B21B}" type="slidenum">
              <a:rPr lang="de-DE" smtClean="0"/>
              <a:pPr/>
              <a:t>5</a:t>
            </a:fld>
            <a:endParaRPr lang="de-DE" dirty="0"/>
          </a:p>
        </p:txBody>
      </p:sp>
      <p:sp>
        <p:nvSpPr>
          <p:cNvPr id="29" name="Textplatzhalter 28"/>
          <p:cNvSpPr>
            <a:spLocks noGrp="1"/>
          </p:cNvSpPr>
          <p:nvPr>
            <p:ph type="body" sz="quarter" idx="26"/>
          </p:nvPr>
        </p:nvSpPr>
        <p:spPr/>
        <p:txBody>
          <a:bodyPr/>
          <a:lstStyle/>
          <a:p>
            <a:endParaRPr lang="de-DE"/>
          </a:p>
        </p:txBody>
      </p:sp>
      <p:sp>
        <p:nvSpPr>
          <p:cNvPr id="12" name="Inhaltsplatzhalter 8"/>
          <p:cNvSpPr txBox="1">
            <a:spLocks/>
          </p:cNvSpPr>
          <p:nvPr/>
        </p:nvSpPr>
        <p:spPr>
          <a:xfrm>
            <a:off x="6336196" y="2900309"/>
            <a:ext cx="1207382" cy="292388"/>
          </a:xfrm>
          <a:prstGeom prst="rect">
            <a:avLst/>
          </a:prstGeom>
        </p:spPr>
        <p:txBody>
          <a:bodyPr wrap="none">
            <a:spAutoFit/>
          </a:bodyPr>
          <a:lstStyle>
            <a:lvl1pPr marL="0" indent="0" algn="l" defTabSz="457200" rtl="0" eaLnBrk="0" fontAlgn="base" hangingPunct="0">
              <a:spcBef>
                <a:spcPts val="0"/>
              </a:spcBef>
              <a:spcAft>
                <a:spcPts val="1200"/>
              </a:spcAft>
              <a:defRPr lang="de-DE" sz="1700" b="1" kern="1200" dirty="0">
                <a:solidFill>
                  <a:schemeClr val="tx1"/>
                </a:solidFill>
                <a:latin typeface="+mn-lt"/>
                <a:ea typeface="+mn-ea"/>
                <a:cs typeface="+mn-cs"/>
              </a:defRPr>
            </a:lvl1pPr>
            <a:lvl2pPr marL="269875" indent="-269875" algn="l" defTabSz="457200" rtl="0" eaLnBrk="0" fontAlgn="base" hangingPunct="0">
              <a:spcBef>
                <a:spcPts val="600"/>
              </a:spcBef>
              <a:spcAft>
                <a:spcPts val="600"/>
              </a:spcAft>
              <a:buClr>
                <a:schemeClr val="tx2"/>
              </a:buClr>
              <a:buSzPct val="100000"/>
              <a:buFont typeface="Arial" panose="020B0604020202020204" pitchFamily="34" charset="0"/>
              <a:buChar char="●"/>
              <a:defRPr lang="de-DE" altLang="de-DE" sz="1700" kern="1200" dirty="0" smtClean="0">
                <a:solidFill>
                  <a:schemeClr val="tx1"/>
                </a:solidFill>
                <a:latin typeface="+mn-lt"/>
                <a:ea typeface="+mn-ea"/>
                <a:cs typeface="+mn-cs"/>
              </a:defRPr>
            </a:lvl2pPr>
            <a:lvl3pPr marL="625475" indent="-269875" algn="l" defTabSz="457200" rtl="0" eaLnBrk="0" fontAlgn="base" hangingPunct="0">
              <a:spcBef>
                <a:spcPts val="600"/>
              </a:spcBef>
              <a:spcAft>
                <a:spcPts val="600"/>
              </a:spcAft>
              <a:buClr>
                <a:schemeClr val="tx2"/>
              </a:buClr>
              <a:buSzPct val="100000"/>
              <a:buFont typeface="Arial" panose="020B0604020202020204" pitchFamily="34" charset="0"/>
              <a:buChar char="●"/>
              <a:defRPr lang="de-DE" sz="1700" kern="1200" dirty="0">
                <a:solidFill>
                  <a:schemeClr val="tx1"/>
                </a:solidFill>
                <a:latin typeface="+mn-lt"/>
                <a:ea typeface="+mn-ea"/>
                <a:cs typeface="+mn-cs"/>
              </a:defRPr>
            </a:lvl3pPr>
            <a:lvl4pPr marL="1076325" indent="-269875" algn="l" defTabSz="457200" rtl="0" eaLnBrk="0" fontAlgn="base" hangingPunct="0">
              <a:spcBef>
                <a:spcPts val="600"/>
              </a:spcBef>
              <a:spcAft>
                <a:spcPts val="600"/>
              </a:spcAft>
              <a:buClr>
                <a:schemeClr val="tx2"/>
              </a:buClr>
              <a:buSzPct val="100000"/>
              <a:buFont typeface="Arial" panose="020B0604020202020204" pitchFamily="34" charset="0"/>
              <a:buChar char="●"/>
              <a:defRPr lang="de-DE" sz="1700" kern="1200" dirty="0">
                <a:solidFill>
                  <a:schemeClr val="tx1"/>
                </a:solidFill>
                <a:latin typeface="+mn-lt"/>
                <a:ea typeface="+mn-ea"/>
                <a:cs typeface="+mn-cs"/>
              </a:defRPr>
            </a:lvl4pPr>
            <a:lvl5pPr marL="269875" indent="-269875" algn="l" defTabSz="457200" rtl="0" eaLnBrk="0" fontAlgn="base" hangingPunct="0">
              <a:spcBef>
                <a:spcPts val="0"/>
              </a:spcBef>
              <a:spcAft>
                <a:spcPts val="600"/>
              </a:spcAft>
              <a:buSzPct val="100000"/>
              <a:buBlip>
                <a:blip r:embed="rId2"/>
              </a:buBlip>
              <a:defRPr lang="de-DE" sz="1700" kern="1200" dirty="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1" indent="0">
              <a:spcBef>
                <a:spcPts val="300"/>
              </a:spcBef>
              <a:buFont typeface="Arial" panose="020B0604020202020204" pitchFamily="34" charset="0"/>
              <a:buNone/>
            </a:pPr>
            <a:r>
              <a:rPr lang="de-DE" sz="1300" b="1" dirty="0"/>
              <a:t>In der Rente:</a:t>
            </a:r>
          </a:p>
        </p:txBody>
      </p:sp>
      <p:sp>
        <p:nvSpPr>
          <p:cNvPr id="13" name="Rechteck 12"/>
          <p:cNvSpPr/>
          <p:nvPr/>
        </p:nvSpPr>
        <p:spPr>
          <a:xfrm>
            <a:off x="5040052" y="4526757"/>
            <a:ext cx="1260000" cy="1260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600"/>
              </a:spcAft>
            </a:pPr>
            <a:r>
              <a:rPr lang="de-DE" sz="1300" b="1" dirty="0"/>
              <a:t>bis 100 €</a:t>
            </a:r>
          </a:p>
          <a:p>
            <a:pPr algn="ctr" eaLnBrk="1" fontAlgn="auto" hangingPunct="1">
              <a:spcBef>
                <a:spcPts val="0"/>
              </a:spcBef>
              <a:spcAft>
                <a:spcPts val="0"/>
              </a:spcAft>
            </a:pPr>
            <a:r>
              <a:rPr lang="de-DE" sz="1300" dirty="0">
                <a:latin typeface="Arial Narrow" panose="020B0606020202030204" pitchFamily="34" charset="0"/>
              </a:rPr>
              <a:t>100 % anrechnungsfrei</a:t>
            </a:r>
          </a:p>
        </p:txBody>
      </p:sp>
      <p:sp>
        <p:nvSpPr>
          <p:cNvPr id="14" name="Rechteck 13"/>
          <p:cNvSpPr/>
          <p:nvPr/>
        </p:nvSpPr>
        <p:spPr>
          <a:xfrm>
            <a:off x="6336196" y="4872064"/>
            <a:ext cx="2449028" cy="769441"/>
          </a:xfrm>
          <a:prstGeom prst="rect">
            <a:avLst/>
          </a:prstGeom>
        </p:spPr>
        <p:txBody>
          <a:bodyPr wrap="square" anchor="b">
            <a:spAutoFit/>
          </a:bodyPr>
          <a:lstStyle/>
          <a:p>
            <a:pPr>
              <a:spcAft>
                <a:spcPts val="600"/>
              </a:spcAft>
            </a:pPr>
            <a:r>
              <a:rPr lang="de-DE" sz="1300" dirty="0">
                <a:latin typeface="+mn-lt"/>
              </a:rPr>
              <a:t>Bis 100 Euro Zusatzrente </a:t>
            </a:r>
            <a:br>
              <a:rPr lang="de-DE" sz="1300" dirty="0">
                <a:latin typeface="+mn-lt"/>
              </a:rPr>
            </a:br>
            <a:r>
              <a:rPr lang="de-DE" sz="1300" dirty="0">
                <a:latin typeface="+mn-lt"/>
              </a:rPr>
              <a:t>aus einer </a:t>
            </a:r>
            <a:r>
              <a:rPr lang="de-DE" sz="1300" dirty="0" err="1">
                <a:latin typeface="+mn-lt"/>
              </a:rPr>
              <a:t>bAV</a:t>
            </a:r>
            <a:r>
              <a:rPr lang="de-DE" sz="1300" dirty="0">
                <a:latin typeface="+mn-lt"/>
              </a:rPr>
              <a:t>: </a:t>
            </a:r>
          </a:p>
          <a:p>
            <a:pPr marL="180975" indent="-180975">
              <a:spcAft>
                <a:spcPts val="600"/>
              </a:spcAft>
              <a:buFont typeface="Wingdings" panose="05000000000000000000" pitchFamily="2" charset="2"/>
              <a:buChar char="§"/>
            </a:pPr>
            <a:r>
              <a:rPr lang="de-DE" sz="1300" dirty="0">
                <a:latin typeface="+mn-lt"/>
              </a:rPr>
              <a:t>vollständig anrechnungsfrei</a:t>
            </a:r>
          </a:p>
        </p:txBody>
      </p:sp>
      <p:sp>
        <p:nvSpPr>
          <p:cNvPr id="15" name="Rechteck 14"/>
          <p:cNvSpPr/>
          <p:nvPr/>
        </p:nvSpPr>
        <p:spPr>
          <a:xfrm>
            <a:off x="6336196" y="3909722"/>
            <a:ext cx="2449028" cy="569387"/>
          </a:xfrm>
          <a:prstGeom prst="rect">
            <a:avLst/>
          </a:prstGeom>
        </p:spPr>
        <p:txBody>
          <a:bodyPr wrap="square" anchor="b">
            <a:spAutoFit/>
          </a:bodyPr>
          <a:lstStyle/>
          <a:p>
            <a:pPr>
              <a:spcAft>
                <a:spcPts val="600"/>
              </a:spcAft>
            </a:pPr>
            <a:r>
              <a:rPr lang="de-DE" sz="1300" dirty="0">
                <a:latin typeface="+mn-lt"/>
              </a:rPr>
              <a:t>Über 100 Euro: </a:t>
            </a:r>
          </a:p>
          <a:p>
            <a:pPr marL="180975" indent="-180975">
              <a:spcAft>
                <a:spcPts val="600"/>
              </a:spcAft>
              <a:buFont typeface="Wingdings" panose="05000000000000000000" pitchFamily="2" charset="2"/>
              <a:buChar char="§"/>
            </a:pPr>
            <a:r>
              <a:rPr lang="de-DE" sz="1300" dirty="0">
                <a:latin typeface="+mn-lt"/>
              </a:rPr>
              <a:t>30 % anrechnungsfrei</a:t>
            </a:r>
            <a:endParaRPr lang="de-DE" sz="1300" dirty="0">
              <a:solidFill>
                <a:schemeClr val="accent6"/>
              </a:solidFill>
              <a:latin typeface="+mn-lt"/>
            </a:endParaRPr>
          </a:p>
        </p:txBody>
      </p:sp>
      <p:sp>
        <p:nvSpPr>
          <p:cNvPr id="16" name="Rechteck 15"/>
          <p:cNvSpPr/>
          <p:nvPr/>
        </p:nvSpPr>
        <p:spPr>
          <a:xfrm>
            <a:off x="6336196" y="3307555"/>
            <a:ext cx="2449028" cy="492443"/>
          </a:xfrm>
          <a:prstGeom prst="rect">
            <a:avLst/>
          </a:prstGeom>
        </p:spPr>
        <p:txBody>
          <a:bodyPr wrap="square" anchor="t">
            <a:spAutoFit/>
          </a:bodyPr>
          <a:lstStyle/>
          <a:p>
            <a:pPr>
              <a:spcAft>
                <a:spcPts val="600"/>
              </a:spcAft>
            </a:pPr>
            <a:r>
              <a:rPr lang="de-DE" sz="1300" dirty="0">
                <a:solidFill>
                  <a:schemeClr val="accent6"/>
                </a:solidFill>
                <a:latin typeface="+mn-lt"/>
              </a:rPr>
              <a:t>Deckelung auf 50 % </a:t>
            </a:r>
            <a:br>
              <a:rPr lang="de-DE" sz="1300" dirty="0">
                <a:solidFill>
                  <a:schemeClr val="accent6"/>
                </a:solidFill>
                <a:latin typeface="+mn-lt"/>
              </a:rPr>
            </a:br>
            <a:r>
              <a:rPr lang="de-DE" sz="1300" dirty="0">
                <a:solidFill>
                  <a:schemeClr val="accent6"/>
                </a:solidFill>
                <a:latin typeface="+mn-lt"/>
              </a:rPr>
              <a:t>der Regelbedarfsstufe 1 </a:t>
            </a:r>
          </a:p>
        </p:txBody>
      </p:sp>
      <p:cxnSp>
        <p:nvCxnSpPr>
          <p:cNvPr id="17" name="Gerader Verbinder 11"/>
          <p:cNvCxnSpPr/>
          <p:nvPr/>
        </p:nvCxnSpPr>
        <p:spPr>
          <a:xfrm>
            <a:off x="5040052" y="3266325"/>
            <a:ext cx="3443548" cy="0"/>
          </a:xfrm>
          <a:prstGeom prst="line">
            <a:avLst/>
          </a:prstGeom>
          <a:ln>
            <a:solidFill>
              <a:schemeClr val="accent6"/>
            </a:solidFill>
            <a:prstDash val="sysDot"/>
          </a:ln>
          <a:effectLst/>
        </p:spPr>
        <p:style>
          <a:lnRef idx="2">
            <a:schemeClr val="accent1"/>
          </a:lnRef>
          <a:fillRef idx="0">
            <a:schemeClr val="accent1"/>
          </a:fillRef>
          <a:effectRef idx="1">
            <a:schemeClr val="accent1"/>
          </a:effectRef>
          <a:fontRef idx="minor">
            <a:schemeClr val="tx1"/>
          </a:fontRef>
        </p:style>
      </p:cxnSp>
      <p:sp>
        <p:nvSpPr>
          <p:cNvPr id="18" name="Rechteck 17"/>
          <p:cNvSpPr/>
          <p:nvPr/>
        </p:nvSpPr>
        <p:spPr>
          <a:xfrm>
            <a:off x="5040052" y="3248539"/>
            <a:ext cx="1260000" cy="1260000"/>
          </a:xfrm>
          <a:prstGeom prst="rect">
            <a:avLst/>
          </a:prstGeom>
          <a:gradFill>
            <a:gsLst>
              <a:gs pos="63000">
                <a:schemeClr val="accent6"/>
              </a:gs>
              <a:gs pos="0">
                <a:schemeClr val="accent6">
                  <a:lumMod val="20000"/>
                  <a:lumOff val="80000"/>
                </a:schemeClr>
              </a:gs>
              <a:gs pos="100000">
                <a:schemeClr val="accent6"/>
              </a:gs>
            </a:gsLst>
            <a:lin ang="5400000" scaled="1"/>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600"/>
              </a:spcAft>
            </a:pPr>
            <a:r>
              <a:rPr lang="de-DE" sz="1300" b="1" dirty="0"/>
              <a:t>über 100 €</a:t>
            </a:r>
          </a:p>
          <a:p>
            <a:pPr algn="ctr" eaLnBrk="1" fontAlgn="auto" hangingPunct="1">
              <a:spcBef>
                <a:spcPts val="0"/>
              </a:spcBef>
              <a:spcAft>
                <a:spcPts val="0"/>
              </a:spcAft>
            </a:pPr>
            <a:r>
              <a:rPr lang="de-DE" sz="1300" dirty="0">
                <a:latin typeface="Arial Narrow" panose="020B0606020202030204" pitchFamily="34" charset="0"/>
              </a:rPr>
              <a:t>30 % anrechnungsfrei</a:t>
            </a:r>
          </a:p>
        </p:txBody>
      </p:sp>
    </p:spTree>
    <p:extLst>
      <p:ext uri="{BB962C8B-B14F-4D97-AF65-F5344CB8AC3E}">
        <p14:creationId xmlns:p14="http://schemas.microsoft.com/office/powerpoint/2010/main" val="85610868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812732"/>
            <a:ext cx="9144000" cy="6045268"/>
          </a:xfrm>
          <a:prstGeom prst="rect">
            <a:avLst/>
          </a:prstGeom>
        </p:spPr>
      </p:pic>
      <p:sp>
        <p:nvSpPr>
          <p:cNvPr id="6" name="Abgerundetes Rechteck 24"/>
          <p:cNvSpPr/>
          <p:nvPr/>
        </p:nvSpPr>
        <p:spPr>
          <a:xfrm>
            <a:off x="647095" y="4840181"/>
            <a:ext cx="415347" cy="409710"/>
          </a:xfrm>
          <a:custGeom>
            <a:avLst/>
            <a:gdLst>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415087 w 415087"/>
              <a:gd name="connsiteY2" fmla="*/ 112132 h 414000"/>
              <a:gd name="connsiteX3" fmla="*/ 415087 w 415087"/>
              <a:gd name="connsiteY3" fmla="*/ 301868 h 414000"/>
              <a:gd name="connsiteX4" fmla="*/ 302955 w 415087"/>
              <a:gd name="connsiteY4" fmla="*/ 414000 h 414000"/>
              <a:gd name="connsiteX5" fmla="*/ 112132 w 415087"/>
              <a:gd name="connsiteY5" fmla="*/ 414000 h 414000"/>
              <a:gd name="connsiteX6" fmla="*/ 0 w 415087"/>
              <a:gd name="connsiteY6" fmla="*/ 301868 h 414000"/>
              <a:gd name="connsiteX7" fmla="*/ 0 w 415087"/>
              <a:gd name="connsiteY7" fmla="*/ 112132 h 414000"/>
              <a:gd name="connsiteX0" fmla="*/ 0 w 417243"/>
              <a:gd name="connsiteY0" fmla="*/ 112132 h 414000"/>
              <a:gd name="connsiteX1" fmla="*/ 112132 w 417243"/>
              <a:gd name="connsiteY1" fmla="*/ 0 h 414000"/>
              <a:gd name="connsiteX2" fmla="*/ 417243 w 417243"/>
              <a:gd name="connsiteY2" fmla="*/ 4301 h 414000"/>
              <a:gd name="connsiteX3" fmla="*/ 415087 w 417243"/>
              <a:gd name="connsiteY3" fmla="*/ 301868 h 414000"/>
              <a:gd name="connsiteX4" fmla="*/ 302955 w 417243"/>
              <a:gd name="connsiteY4" fmla="*/ 414000 h 414000"/>
              <a:gd name="connsiteX5" fmla="*/ 112132 w 417243"/>
              <a:gd name="connsiteY5" fmla="*/ 414000 h 414000"/>
              <a:gd name="connsiteX6" fmla="*/ 0 w 417243"/>
              <a:gd name="connsiteY6" fmla="*/ 301868 h 414000"/>
              <a:gd name="connsiteX7" fmla="*/ 0 w 417243"/>
              <a:gd name="connsiteY7" fmla="*/ 112132 h 414000"/>
              <a:gd name="connsiteX0" fmla="*/ 0 w 419399"/>
              <a:gd name="connsiteY0" fmla="*/ 112132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7" fmla="*/ 0 w 419399"/>
              <a:gd name="connsiteY7" fmla="*/ 112132 h 414000"/>
              <a:gd name="connsiteX0" fmla="*/ 0 w 419399"/>
              <a:gd name="connsiteY0" fmla="*/ 112135 h 414003"/>
              <a:gd name="connsiteX1" fmla="*/ 112132 w 419399"/>
              <a:gd name="connsiteY1" fmla="*/ 3 h 414003"/>
              <a:gd name="connsiteX2" fmla="*/ 419399 w 419399"/>
              <a:gd name="connsiteY2" fmla="*/ 2147 h 414003"/>
              <a:gd name="connsiteX3" fmla="*/ 415087 w 419399"/>
              <a:gd name="connsiteY3" fmla="*/ 301871 h 414003"/>
              <a:gd name="connsiteX4" fmla="*/ 302955 w 419399"/>
              <a:gd name="connsiteY4" fmla="*/ 414003 h 414003"/>
              <a:gd name="connsiteX5" fmla="*/ 112132 w 419399"/>
              <a:gd name="connsiteY5" fmla="*/ 414003 h 414003"/>
              <a:gd name="connsiteX6" fmla="*/ 0 w 419399"/>
              <a:gd name="connsiteY6" fmla="*/ 301871 h 414003"/>
              <a:gd name="connsiteX7" fmla="*/ 0 w 419399"/>
              <a:gd name="connsiteY7" fmla="*/ 112135 h 414003"/>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44516"/>
              <a:gd name="connsiteX1" fmla="*/ 112132 w 419399"/>
              <a:gd name="connsiteY1" fmla="*/ 0 h 444516"/>
              <a:gd name="connsiteX2" fmla="*/ 419399 w 419399"/>
              <a:gd name="connsiteY2" fmla="*/ 2144 h 444516"/>
              <a:gd name="connsiteX3" fmla="*/ 415087 w 419399"/>
              <a:gd name="connsiteY3" fmla="*/ 414011 h 444516"/>
              <a:gd name="connsiteX4" fmla="*/ 112132 w 419399"/>
              <a:gd name="connsiteY4" fmla="*/ 414000 h 444516"/>
              <a:gd name="connsiteX5" fmla="*/ 0 w 419399"/>
              <a:gd name="connsiteY5" fmla="*/ 301868 h 444516"/>
              <a:gd name="connsiteX0" fmla="*/ 0 w 419399"/>
              <a:gd name="connsiteY0" fmla="*/ 301868 h 414011"/>
              <a:gd name="connsiteX1" fmla="*/ 112132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4325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299724 h 411867"/>
              <a:gd name="connsiteX1" fmla="*/ 2146 w 419399"/>
              <a:gd name="connsiteY1" fmla="*/ 2169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301868 h 414011"/>
              <a:gd name="connsiteX1" fmla="*/ 2146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2170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5347"/>
              <a:gd name="connsiteY0" fmla="*/ 297567 h 409710"/>
              <a:gd name="connsiteX1" fmla="*/ 2146 w 415347"/>
              <a:gd name="connsiteY1" fmla="*/ 13 h 409710"/>
              <a:gd name="connsiteX2" fmla="*/ 412929 w 415347"/>
              <a:gd name="connsiteY2" fmla="*/ 0 h 409710"/>
              <a:gd name="connsiteX3" fmla="*/ 415087 w 415347"/>
              <a:gd name="connsiteY3" fmla="*/ 409710 h 409710"/>
              <a:gd name="connsiteX4" fmla="*/ 112132 w 415347"/>
              <a:gd name="connsiteY4" fmla="*/ 409699 h 409710"/>
              <a:gd name="connsiteX5" fmla="*/ 0 w 415347"/>
              <a:gd name="connsiteY5" fmla="*/ 297567 h 40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347" h="409710">
                <a:moveTo>
                  <a:pt x="0" y="297567"/>
                </a:moveTo>
                <a:cubicBezTo>
                  <a:pt x="715" y="199101"/>
                  <a:pt x="1431" y="98479"/>
                  <a:pt x="2146" y="13"/>
                </a:cubicBezTo>
                <a:lnTo>
                  <a:pt x="412929" y="0"/>
                </a:lnTo>
                <a:cubicBezTo>
                  <a:pt x="411492" y="137289"/>
                  <a:pt x="416524" y="272421"/>
                  <a:pt x="415087" y="409710"/>
                </a:cubicBezTo>
                <a:lnTo>
                  <a:pt x="112132" y="409699"/>
                </a:lnTo>
                <a:cubicBezTo>
                  <a:pt x="50203" y="409699"/>
                  <a:pt x="0" y="359496"/>
                  <a:pt x="0" y="297567"/>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de-DE" b="1" dirty="0"/>
          </a:p>
        </p:txBody>
      </p:sp>
      <p:sp>
        <p:nvSpPr>
          <p:cNvPr id="2" name="Textplatzhalter 1"/>
          <p:cNvSpPr>
            <a:spLocks noGrp="1"/>
          </p:cNvSpPr>
          <p:nvPr>
            <p:ph type="body" sz="quarter" idx="10"/>
          </p:nvPr>
        </p:nvSpPr>
        <p:spPr/>
        <p:txBody>
          <a:bodyPr/>
          <a:lstStyle/>
          <a:p>
            <a:r>
              <a:rPr lang="de-DE"/>
              <a:t>2.</a:t>
            </a:r>
            <a:endParaRPr lang="de-DE" dirty="0"/>
          </a:p>
        </p:txBody>
      </p:sp>
      <p:sp>
        <p:nvSpPr>
          <p:cNvPr id="7" name="Abgerundetes Rechteck 18"/>
          <p:cNvSpPr/>
          <p:nvPr/>
        </p:nvSpPr>
        <p:spPr>
          <a:xfrm>
            <a:off x="1099867" y="4840181"/>
            <a:ext cx="6925196" cy="1197499"/>
          </a:xfrm>
          <a:custGeom>
            <a:avLst/>
            <a:gdLst>
              <a:gd name="connsiteX0" fmla="*/ 0 w 6925196"/>
              <a:gd name="connsiteY0" fmla="*/ 199587 h 1197499"/>
              <a:gd name="connsiteX1" fmla="*/ 199587 w 6925196"/>
              <a:gd name="connsiteY1" fmla="*/ 0 h 1197499"/>
              <a:gd name="connsiteX2" fmla="*/ 6725609 w 6925196"/>
              <a:gd name="connsiteY2" fmla="*/ 0 h 1197499"/>
              <a:gd name="connsiteX3" fmla="*/ 6925196 w 6925196"/>
              <a:gd name="connsiteY3" fmla="*/ 199587 h 1197499"/>
              <a:gd name="connsiteX4" fmla="*/ 6925196 w 6925196"/>
              <a:gd name="connsiteY4" fmla="*/ 997912 h 1197499"/>
              <a:gd name="connsiteX5" fmla="*/ 6725609 w 6925196"/>
              <a:gd name="connsiteY5" fmla="*/ 1197499 h 1197499"/>
              <a:gd name="connsiteX6" fmla="*/ 199587 w 6925196"/>
              <a:gd name="connsiteY6" fmla="*/ 1197499 h 1197499"/>
              <a:gd name="connsiteX7" fmla="*/ 0 w 6925196"/>
              <a:gd name="connsiteY7" fmla="*/ 997912 h 1197499"/>
              <a:gd name="connsiteX8" fmla="*/ 0 w 6925196"/>
              <a:gd name="connsiteY8" fmla="*/ 199587 h 1197499"/>
              <a:gd name="connsiteX0" fmla="*/ 0 w 6925196"/>
              <a:gd name="connsiteY0" fmla="*/ 997912 h 1197499"/>
              <a:gd name="connsiteX1" fmla="*/ 199587 w 6925196"/>
              <a:gd name="connsiteY1" fmla="*/ 0 h 1197499"/>
              <a:gd name="connsiteX2" fmla="*/ 6725609 w 6925196"/>
              <a:gd name="connsiteY2" fmla="*/ 0 h 1197499"/>
              <a:gd name="connsiteX3" fmla="*/ 6925196 w 6925196"/>
              <a:gd name="connsiteY3" fmla="*/ 199587 h 1197499"/>
              <a:gd name="connsiteX4" fmla="*/ 6925196 w 6925196"/>
              <a:gd name="connsiteY4" fmla="*/ 997912 h 1197499"/>
              <a:gd name="connsiteX5" fmla="*/ 6725609 w 6925196"/>
              <a:gd name="connsiteY5" fmla="*/ 1197499 h 1197499"/>
              <a:gd name="connsiteX6" fmla="*/ 199587 w 6925196"/>
              <a:gd name="connsiteY6" fmla="*/ 1197499 h 1197499"/>
              <a:gd name="connsiteX7" fmla="*/ 0 w 6925196"/>
              <a:gd name="connsiteY7" fmla="*/ 997912 h 1197499"/>
              <a:gd name="connsiteX0" fmla="*/ 0 w 6925196"/>
              <a:gd name="connsiteY0" fmla="*/ 997912 h 1197499"/>
              <a:gd name="connsiteX1" fmla="*/ 1179 w 6925196"/>
              <a:gd name="connsiteY1" fmla="*/ 0 h 1197499"/>
              <a:gd name="connsiteX2" fmla="*/ 6725609 w 6925196"/>
              <a:gd name="connsiteY2" fmla="*/ 0 h 1197499"/>
              <a:gd name="connsiteX3" fmla="*/ 6925196 w 6925196"/>
              <a:gd name="connsiteY3" fmla="*/ 199587 h 1197499"/>
              <a:gd name="connsiteX4" fmla="*/ 6925196 w 6925196"/>
              <a:gd name="connsiteY4" fmla="*/ 997912 h 1197499"/>
              <a:gd name="connsiteX5" fmla="*/ 6725609 w 6925196"/>
              <a:gd name="connsiteY5" fmla="*/ 1197499 h 1197499"/>
              <a:gd name="connsiteX6" fmla="*/ 199587 w 6925196"/>
              <a:gd name="connsiteY6" fmla="*/ 1197499 h 1197499"/>
              <a:gd name="connsiteX7" fmla="*/ 0 w 6925196"/>
              <a:gd name="connsiteY7" fmla="*/ 997912 h 1197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25196" h="1197499">
                <a:moveTo>
                  <a:pt x="0" y="997912"/>
                </a:moveTo>
                <a:lnTo>
                  <a:pt x="1179" y="0"/>
                </a:lnTo>
                <a:lnTo>
                  <a:pt x="6725609" y="0"/>
                </a:lnTo>
                <a:cubicBezTo>
                  <a:pt x="6835838" y="0"/>
                  <a:pt x="6925196" y="89358"/>
                  <a:pt x="6925196" y="199587"/>
                </a:cubicBezTo>
                <a:lnTo>
                  <a:pt x="6925196" y="997912"/>
                </a:lnTo>
                <a:cubicBezTo>
                  <a:pt x="6925196" y="1108141"/>
                  <a:pt x="6835838" y="1197499"/>
                  <a:pt x="6725609" y="1197499"/>
                </a:cubicBezTo>
                <a:lnTo>
                  <a:pt x="199587" y="1197499"/>
                </a:lnTo>
                <a:cubicBezTo>
                  <a:pt x="89358" y="1197499"/>
                  <a:pt x="0" y="1108141"/>
                  <a:pt x="0" y="997912"/>
                </a:cubicBezTo>
                <a:close/>
              </a:path>
            </a:pathLst>
          </a:custGeom>
          <a:solidFill>
            <a:schemeClr val="bg1">
              <a:alpha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Titel 2"/>
          <p:cNvSpPr>
            <a:spLocks noGrp="1"/>
          </p:cNvSpPr>
          <p:nvPr>
            <p:ph type="title"/>
          </p:nvPr>
        </p:nvSpPr>
        <p:spPr/>
        <p:txBody>
          <a:bodyPr/>
          <a:lstStyle/>
          <a:p>
            <a:r>
              <a:rPr lang="de-DE" altLang="de-DE" dirty="0"/>
              <a:t>Ihr Recht auf betriebliche Altersversorgung</a:t>
            </a:r>
            <a:endParaRPr lang="de-DE" dirty="0"/>
          </a:p>
        </p:txBody>
      </p:sp>
    </p:spTree>
    <p:extLst>
      <p:ext uri="{BB962C8B-B14F-4D97-AF65-F5344CB8AC3E}">
        <p14:creationId xmlns:p14="http://schemas.microsoft.com/office/powerpoint/2010/main" val="40875632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a:t>Betriebliche Altersversorgung:</a:t>
            </a:r>
            <a:br>
              <a:rPr lang="de-DE" altLang="de-DE"/>
            </a:br>
            <a:r>
              <a:rPr lang="de-DE" altLang="de-DE"/>
              <a:t>Ihr gutes Recht auf wirklich gutes Geld</a:t>
            </a:r>
            <a:endParaRPr lang="de-DE" dirty="0"/>
          </a:p>
        </p:txBody>
      </p:sp>
      <p:sp>
        <p:nvSpPr>
          <p:cNvPr id="3" name="Textplatzhalter 2"/>
          <p:cNvSpPr>
            <a:spLocks noGrp="1"/>
          </p:cNvSpPr>
          <p:nvPr>
            <p:ph type="body" sz="quarter" idx="17"/>
          </p:nvPr>
        </p:nvSpPr>
        <p:spPr>
          <a:xfrm>
            <a:off x="358775" y="2087563"/>
            <a:ext cx="8426450" cy="512762"/>
          </a:xfrm>
        </p:spPr>
        <p:txBody>
          <a:bodyPr>
            <a:normAutofit/>
          </a:bodyPr>
          <a:lstStyle/>
          <a:p>
            <a:r>
              <a:rPr lang="de-DE" altLang="de-DE" dirty="0"/>
              <a:t>Ihr Anspruch auf betriebliche Altersversorgung ist gesetzlich fest verankert.</a:t>
            </a:r>
          </a:p>
          <a:p>
            <a:endParaRPr lang="de-DE" dirty="0"/>
          </a:p>
        </p:txBody>
      </p:sp>
      <p:sp>
        <p:nvSpPr>
          <p:cNvPr id="5" name="Textplatzhalter 4"/>
          <p:cNvSpPr>
            <a:spLocks noGrp="1"/>
          </p:cNvSpPr>
          <p:nvPr>
            <p:ph type="body" sz="quarter" idx="21"/>
          </p:nvPr>
        </p:nvSpPr>
        <p:spPr>
          <a:xfrm>
            <a:off x="358774" y="2600325"/>
            <a:ext cx="4213225" cy="2736850"/>
          </a:xfrm>
        </p:spPr>
        <p:txBody>
          <a:bodyPr/>
          <a:lstStyle/>
          <a:p>
            <a:pPr lvl="1"/>
            <a:r>
              <a:rPr lang="de-DE" altLang="de-DE" dirty="0"/>
              <a:t>Gemäß Betriebsrentengesetz hat jeder sozialversicherungspflichtige Arbeitnehmer </a:t>
            </a:r>
            <a:r>
              <a:rPr lang="de-DE" altLang="de-DE" b="1" dirty="0"/>
              <a:t>Anspruch auf Entgeltumwandlung</a:t>
            </a:r>
            <a:r>
              <a:rPr lang="de-DE" altLang="de-DE" dirty="0"/>
              <a:t>.</a:t>
            </a:r>
          </a:p>
          <a:p>
            <a:pPr lvl="1"/>
            <a:r>
              <a:rPr lang="de-DE" altLang="de-DE" dirty="0"/>
              <a:t>Die bAV ermöglicht Mehrarbeit </a:t>
            </a:r>
            <a:br>
              <a:rPr lang="de-DE" altLang="de-DE" dirty="0"/>
            </a:br>
            <a:r>
              <a:rPr lang="de-DE" altLang="de-DE" dirty="0"/>
              <a:t>ohne Verlust des günstigen </a:t>
            </a:r>
            <a:r>
              <a:rPr lang="de-DE" altLang="de-DE" dirty="0" err="1"/>
              <a:t>Sozialversicherungs</a:t>
            </a:r>
            <a:r>
              <a:rPr lang="de-DE" altLang="de-DE" dirty="0"/>
              <a:t>(SV)-Status.</a:t>
            </a:r>
          </a:p>
          <a:p>
            <a:pPr lvl="1"/>
            <a:r>
              <a:rPr lang="de-DE" altLang="de-DE" dirty="0"/>
              <a:t> "Vater Staat" fördert dies.</a:t>
            </a:r>
          </a:p>
        </p:txBody>
      </p:sp>
      <p:sp>
        <p:nvSpPr>
          <p:cNvPr id="23" name="Textplatzhalter 22"/>
          <p:cNvSpPr>
            <a:spLocks noGrp="1"/>
          </p:cNvSpPr>
          <p:nvPr>
            <p:ph type="body" sz="quarter" idx="24"/>
          </p:nvPr>
        </p:nvSpPr>
        <p:spPr/>
        <p:txBody>
          <a:bodyPr/>
          <a:lstStyle/>
          <a:p>
            <a:r>
              <a:rPr lang="de-DE" dirty="0"/>
              <a:t>Das Betriebsrentengesetz ermöglicht es Ihnen, auch als Minijobber im Rahmen der betrieblichen Altersversorgung staatlich gefördert für die Rente vorzusorgen.</a:t>
            </a:r>
          </a:p>
        </p:txBody>
      </p:sp>
      <p:sp>
        <p:nvSpPr>
          <p:cNvPr id="22" name="Textplatzhalter 21"/>
          <p:cNvSpPr>
            <a:spLocks noGrp="1"/>
          </p:cNvSpPr>
          <p:nvPr>
            <p:ph type="body" sz="quarter" idx="23"/>
          </p:nvPr>
        </p:nvSpPr>
        <p:spPr/>
        <p:txBody>
          <a:bodyPr/>
          <a:lstStyle/>
          <a:p>
            <a:endParaRPr lang="de-DE"/>
          </a:p>
        </p:txBody>
      </p:sp>
      <p:sp>
        <p:nvSpPr>
          <p:cNvPr id="9" name="Textplatzhalter 8"/>
          <p:cNvSpPr>
            <a:spLocks noGrp="1"/>
          </p:cNvSpPr>
          <p:nvPr>
            <p:ph type="body" sz="quarter" idx="18"/>
          </p:nvPr>
        </p:nvSpPr>
        <p:spPr/>
        <p:txBody>
          <a:bodyPr/>
          <a:lstStyle/>
          <a:p>
            <a:r>
              <a:rPr lang="de-DE" altLang="de-DE" dirty="0"/>
              <a:t>2. Ihr Recht auf betriebliche Altersversorgung</a:t>
            </a:r>
          </a:p>
        </p:txBody>
      </p:sp>
      <p:sp>
        <p:nvSpPr>
          <p:cNvPr id="10" name="Datumsplatzhalter 9"/>
          <p:cNvSpPr>
            <a:spLocks noGrp="1"/>
          </p:cNvSpPr>
          <p:nvPr>
            <p:ph type="dt" sz="half" idx="25"/>
          </p:nvPr>
        </p:nvSpPr>
        <p:spPr/>
        <p:txBody>
          <a:bodyPr/>
          <a:lstStyle/>
          <a:p>
            <a:r>
              <a:rPr lang="de-DE"/>
              <a:t>01.01.2020</a:t>
            </a:r>
            <a:endParaRPr lang="de-DE" dirty="0"/>
          </a:p>
        </p:txBody>
      </p:sp>
      <p:sp>
        <p:nvSpPr>
          <p:cNvPr id="11" name="Fußzeilenplatzhalter 10"/>
          <p:cNvSpPr>
            <a:spLocks noGrp="1"/>
          </p:cNvSpPr>
          <p:nvPr>
            <p:ph type="ftr" sz="quarter" idx="26"/>
          </p:nvPr>
        </p:nvSpPr>
        <p:spPr/>
        <p:txBody>
          <a:bodyPr/>
          <a:lstStyle/>
          <a:p>
            <a:r>
              <a:rPr lang="de-DE"/>
              <a:t>Präsentation für Arbeitnehmer</a:t>
            </a:r>
            <a:endParaRPr lang="de-DE" dirty="0"/>
          </a:p>
        </p:txBody>
      </p:sp>
      <p:sp>
        <p:nvSpPr>
          <p:cNvPr id="12" name="Foliennummernplatzhalter 11"/>
          <p:cNvSpPr>
            <a:spLocks noGrp="1"/>
          </p:cNvSpPr>
          <p:nvPr>
            <p:ph type="sldNum" sz="quarter" idx="27"/>
          </p:nvPr>
        </p:nvSpPr>
        <p:spPr/>
        <p:txBody>
          <a:bodyPr/>
          <a:lstStyle/>
          <a:p>
            <a:fld id="{BFE8ADF1-837C-463F-9856-54C2D771B21B}" type="slidenum">
              <a:rPr lang="de-DE" smtClean="0"/>
              <a:pPr/>
              <a:t>7</a:t>
            </a:fld>
            <a:endParaRPr lang="de-DE" dirty="0"/>
          </a:p>
        </p:txBody>
      </p:sp>
      <p:pic>
        <p:nvPicPr>
          <p:cNvPr id="24" name="Inhaltsplatzhalter 29"/>
          <p:cNvPicPr>
            <a:picLocks noChangeAspect="1"/>
          </p:cNvPicPr>
          <p:nvPr/>
        </p:nvPicPr>
        <p:blipFill>
          <a:blip r:embed="rId2">
            <a:extLst>
              <a:ext uri="{28A0092B-C50C-407E-A947-70E740481C1C}">
                <a14:useLocalDpi xmlns:a14="http://schemas.microsoft.com/office/drawing/2010/main"/>
              </a:ext>
            </a:extLst>
          </a:blip>
          <a:srcRect/>
          <a:stretch>
            <a:fillRect/>
          </a:stretch>
        </p:blipFill>
        <p:spPr>
          <a:xfrm>
            <a:off x="6027738" y="2743200"/>
            <a:ext cx="1352550" cy="2185988"/>
          </a:xfrm>
          <a:prstGeom prst="rect">
            <a:avLst/>
          </a:prstGeom>
        </p:spPr>
      </p:pic>
    </p:spTree>
    <p:extLst>
      <p:ext uri="{BB962C8B-B14F-4D97-AF65-F5344CB8AC3E}">
        <p14:creationId xmlns:p14="http://schemas.microsoft.com/office/powerpoint/2010/main" val="269653212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sz="2400" dirty="0"/>
              <a:t>Die Basis für Ihre Versorgung</a:t>
            </a:r>
            <a:endParaRPr lang="de-DE" sz="2550" dirty="0"/>
          </a:p>
        </p:txBody>
      </p:sp>
      <p:sp>
        <p:nvSpPr>
          <p:cNvPr id="15" name="Textplatzhalter 14"/>
          <p:cNvSpPr>
            <a:spLocks noGrp="1"/>
          </p:cNvSpPr>
          <p:nvPr>
            <p:ph type="body" sz="quarter" idx="21"/>
          </p:nvPr>
        </p:nvSpPr>
        <p:spPr/>
        <p:txBody>
          <a:bodyPr/>
          <a:lstStyle/>
          <a:p>
            <a:r>
              <a:rPr lang="de-DE" altLang="de-DE" dirty="0"/>
              <a:t>Mit dem geringen Eigenbeitrag sichern sich Minijobber Leistungen der DRV.</a:t>
            </a:r>
          </a:p>
        </p:txBody>
      </p:sp>
      <p:sp>
        <p:nvSpPr>
          <p:cNvPr id="17" name="Textplatzhalter 16"/>
          <p:cNvSpPr>
            <a:spLocks noGrp="1"/>
          </p:cNvSpPr>
          <p:nvPr>
            <p:ph type="body" sz="quarter" idx="23"/>
          </p:nvPr>
        </p:nvSpPr>
        <p:spPr/>
        <p:txBody>
          <a:bodyPr/>
          <a:lstStyle/>
          <a:p>
            <a:endParaRPr lang="de-DE"/>
          </a:p>
        </p:txBody>
      </p:sp>
      <p:sp>
        <p:nvSpPr>
          <p:cNvPr id="19" name="Textplatzhalter 18"/>
          <p:cNvSpPr>
            <a:spLocks noGrp="1"/>
          </p:cNvSpPr>
          <p:nvPr>
            <p:ph type="body" sz="quarter" idx="24"/>
          </p:nvPr>
        </p:nvSpPr>
        <p:spPr/>
        <p:txBody>
          <a:bodyPr/>
          <a:lstStyle/>
          <a:p>
            <a:pPr>
              <a:defRPr/>
            </a:pPr>
            <a:r>
              <a:rPr lang="de-DE" sz="1600" dirty="0"/>
              <a:t>Ich informiere Sie über die Vorteile des geringen Eigenbeitrags zur gesetzlichen Rentenversicherung – als Beitrag zu einer soliden Absicherung und Altersversorgung.</a:t>
            </a:r>
          </a:p>
        </p:txBody>
      </p:sp>
      <p:sp>
        <p:nvSpPr>
          <p:cNvPr id="7" name="Textplatzhalter 6"/>
          <p:cNvSpPr>
            <a:spLocks noGrp="1"/>
          </p:cNvSpPr>
          <p:nvPr>
            <p:ph type="body" sz="quarter" idx="18"/>
          </p:nvPr>
        </p:nvSpPr>
        <p:spPr/>
        <p:txBody>
          <a:bodyPr/>
          <a:lstStyle/>
          <a:p>
            <a:r>
              <a:rPr lang="de-DE" altLang="de-DE" dirty="0"/>
              <a:t>2. Ihr Recht auf betriebliche Altersversorgung</a:t>
            </a:r>
          </a:p>
        </p:txBody>
      </p:sp>
      <p:sp>
        <p:nvSpPr>
          <p:cNvPr id="8" name="Datumsplatzhalter 7"/>
          <p:cNvSpPr>
            <a:spLocks noGrp="1"/>
          </p:cNvSpPr>
          <p:nvPr>
            <p:ph type="dt" sz="half" idx="25"/>
          </p:nvPr>
        </p:nvSpPr>
        <p:spPr/>
        <p:txBody>
          <a:bodyPr/>
          <a:lstStyle/>
          <a:p>
            <a:r>
              <a:rPr lang="de-DE"/>
              <a:t>01.01.2020</a:t>
            </a:r>
            <a:endParaRPr lang="de-DE" dirty="0"/>
          </a:p>
        </p:txBody>
      </p:sp>
      <p:sp>
        <p:nvSpPr>
          <p:cNvPr id="9" name="Fußzeilenplatzhalter 8"/>
          <p:cNvSpPr>
            <a:spLocks noGrp="1"/>
          </p:cNvSpPr>
          <p:nvPr>
            <p:ph type="ftr" sz="quarter" idx="26"/>
          </p:nvPr>
        </p:nvSpPr>
        <p:spPr/>
        <p:txBody>
          <a:bodyPr/>
          <a:lstStyle/>
          <a:p>
            <a:r>
              <a:rPr lang="de-DE"/>
              <a:t>Präsentation für Arbeitnehmer</a:t>
            </a:r>
            <a:endParaRPr lang="de-DE" dirty="0"/>
          </a:p>
        </p:txBody>
      </p:sp>
      <p:sp>
        <p:nvSpPr>
          <p:cNvPr id="10" name="Foliennummernplatzhalter 9"/>
          <p:cNvSpPr>
            <a:spLocks noGrp="1"/>
          </p:cNvSpPr>
          <p:nvPr>
            <p:ph type="sldNum" sz="quarter" idx="27"/>
          </p:nvPr>
        </p:nvSpPr>
        <p:spPr/>
        <p:txBody>
          <a:bodyPr/>
          <a:lstStyle/>
          <a:p>
            <a:fld id="{BFE8ADF1-837C-463F-9856-54C2D771B21B}" type="slidenum">
              <a:rPr lang="de-DE" smtClean="0"/>
              <a:pPr/>
              <a:t>8</a:t>
            </a:fld>
            <a:endParaRPr lang="de-DE" dirty="0"/>
          </a:p>
        </p:txBody>
      </p:sp>
      <p:grpSp>
        <p:nvGrpSpPr>
          <p:cNvPr id="48" name="Gruppieren 47"/>
          <p:cNvGrpSpPr/>
          <p:nvPr/>
        </p:nvGrpSpPr>
        <p:grpSpPr>
          <a:xfrm>
            <a:off x="4854575" y="2616200"/>
            <a:ext cx="4044950" cy="2316184"/>
            <a:chOff x="4854575" y="2616200"/>
            <a:chExt cx="4044950" cy="2316184"/>
          </a:xfrm>
        </p:grpSpPr>
        <p:sp>
          <p:nvSpPr>
            <p:cNvPr id="49" name="Abgerundetes Rechteck 2"/>
            <p:cNvSpPr>
              <a:spLocks noChangeAspect="1"/>
            </p:cNvSpPr>
            <p:nvPr/>
          </p:nvSpPr>
          <p:spPr>
            <a:xfrm>
              <a:off x="4854575" y="2616200"/>
              <a:ext cx="2879725" cy="365125"/>
            </a:xfrm>
            <a:custGeom>
              <a:avLst/>
              <a:gdLst>
                <a:gd name="connsiteX0" fmla="*/ 0 w 3419863"/>
                <a:gd name="connsiteY0" fmla="*/ 111632 h 432817"/>
                <a:gd name="connsiteX1" fmla="*/ 111632 w 3419863"/>
                <a:gd name="connsiteY1" fmla="*/ 0 h 432817"/>
                <a:gd name="connsiteX2" fmla="*/ 3308231 w 3419863"/>
                <a:gd name="connsiteY2" fmla="*/ 0 h 432817"/>
                <a:gd name="connsiteX3" fmla="*/ 3419863 w 3419863"/>
                <a:gd name="connsiteY3" fmla="*/ 111632 h 432817"/>
                <a:gd name="connsiteX4" fmla="*/ 3419863 w 3419863"/>
                <a:gd name="connsiteY4" fmla="*/ 321185 h 432817"/>
                <a:gd name="connsiteX5" fmla="*/ 3308231 w 3419863"/>
                <a:gd name="connsiteY5" fmla="*/ 432817 h 432817"/>
                <a:gd name="connsiteX6" fmla="*/ 111632 w 3419863"/>
                <a:gd name="connsiteY6" fmla="*/ 432817 h 432817"/>
                <a:gd name="connsiteX7" fmla="*/ 0 w 3419863"/>
                <a:gd name="connsiteY7" fmla="*/ 321185 h 432817"/>
                <a:gd name="connsiteX8" fmla="*/ 0 w 3419863"/>
                <a:gd name="connsiteY8" fmla="*/ 111632 h 432817"/>
                <a:gd name="connsiteX0" fmla="*/ 0 w 3419863"/>
                <a:gd name="connsiteY0" fmla="*/ 111632 h 432817"/>
                <a:gd name="connsiteX1" fmla="*/ 3308231 w 3419863"/>
                <a:gd name="connsiteY1" fmla="*/ 0 h 432817"/>
                <a:gd name="connsiteX2" fmla="*/ 3419863 w 3419863"/>
                <a:gd name="connsiteY2" fmla="*/ 111632 h 432817"/>
                <a:gd name="connsiteX3" fmla="*/ 3419863 w 3419863"/>
                <a:gd name="connsiteY3" fmla="*/ 321185 h 432817"/>
                <a:gd name="connsiteX4" fmla="*/ 3308231 w 3419863"/>
                <a:gd name="connsiteY4" fmla="*/ 432817 h 432817"/>
                <a:gd name="connsiteX5" fmla="*/ 111632 w 3419863"/>
                <a:gd name="connsiteY5" fmla="*/ 432817 h 432817"/>
                <a:gd name="connsiteX6" fmla="*/ 0 w 3419863"/>
                <a:gd name="connsiteY6" fmla="*/ 321185 h 432817"/>
                <a:gd name="connsiteX7" fmla="*/ 0 w 3419863"/>
                <a:gd name="connsiteY7" fmla="*/ 111632 h 432817"/>
                <a:gd name="connsiteX0" fmla="*/ 0 w 3419863"/>
                <a:gd name="connsiteY0" fmla="*/ 111632 h 432817"/>
                <a:gd name="connsiteX1" fmla="*/ 3308231 w 3419863"/>
                <a:gd name="connsiteY1" fmla="*/ 0 h 432817"/>
                <a:gd name="connsiteX2" fmla="*/ 3419863 w 3419863"/>
                <a:gd name="connsiteY2" fmla="*/ 111632 h 432817"/>
                <a:gd name="connsiteX3" fmla="*/ 3419863 w 3419863"/>
                <a:gd name="connsiteY3" fmla="*/ 321185 h 432817"/>
                <a:gd name="connsiteX4" fmla="*/ 3308231 w 3419863"/>
                <a:gd name="connsiteY4" fmla="*/ 432817 h 432817"/>
                <a:gd name="connsiteX5" fmla="*/ 111632 w 3419863"/>
                <a:gd name="connsiteY5" fmla="*/ 432817 h 432817"/>
                <a:gd name="connsiteX6" fmla="*/ 0 w 3419863"/>
                <a:gd name="connsiteY6" fmla="*/ 321185 h 432817"/>
                <a:gd name="connsiteX7" fmla="*/ 0 w 3419863"/>
                <a:gd name="connsiteY7" fmla="*/ 111632 h 432817"/>
                <a:gd name="connsiteX0" fmla="*/ 0 w 3419863"/>
                <a:gd name="connsiteY0" fmla="*/ 0 h 433103"/>
                <a:gd name="connsiteX1" fmla="*/ 3308231 w 3419863"/>
                <a:gd name="connsiteY1" fmla="*/ 286 h 433103"/>
                <a:gd name="connsiteX2" fmla="*/ 3419863 w 3419863"/>
                <a:gd name="connsiteY2" fmla="*/ 111918 h 433103"/>
                <a:gd name="connsiteX3" fmla="*/ 3419863 w 3419863"/>
                <a:gd name="connsiteY3" fmla="*/ 321471 h 433103"/>
                <a:gd name="connsiteX4" fmla="*/ 3308231 w 3419863"/>
                <a:gd name="connsiteY4" fmla="*/ 433103 h 433103"/>
                <a:gd name="connsiteX5" fmla="*/ 111632 w 3419863"/>
                <a:gd name="connsiteY5" fmla="*/ 433103 h 433103"/>
                <a:gd name="connsiteX6" fmla="*/ 0 w 3419863"/>
                <a:gd name="connsiteY6" fmla="*/ 321471 h 433103"/>
                <a:gd name="connsiteX7" fmla="*/ 0 w 3419863"/>
                <a:gd name="connsiteY7" fmla="*/ 0 h 433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19863" h="433103">
                  <a:moveTo>
                    <a:pt x="0" y="0"/>
                  </a:moveTo>
                  <a:lnTo>
                    <a:pt x="3308231" y="286"/>
                  </a:lnTo>
                  <a:cubicBezTo>
                    <a:pt x="3369884" y="286"/>
                    <a:pt x="3419863" y="50265"/>
                    <a:pt x="3419863" y="111918"/>
                  </a:cubicBezTo>
                  <a:lnTo>
                    <a:pt x="3419863" y="321471"/>
                  </a:lnTo>
                  <a:cubicBezTo>
                    <a:pt x="3419863" y="383124"/>
                    <a:pt x="3369884" y="433103"/>
                    <a:pt x="3308231" y="433103"/>
                  </a:cubicBezTo>
                  <a:lnTo>
                    <a:pt x="111632" y="433103"/>
                  </a:lnTo>
                  <a:cubicBezTo>
                    <a:pt x="49979" y="433103"/>
                    <a:pt x="0" y="383124"/>
                    <a:pt x="0" y="321471"/>
                  </a:cubicBezTo>
                  <a:lnTo>
                    <a:pt x="0" y="0"/>
                  </a:lnTo>
                  <a:close/>
                </a:path>
              </a:pathLst>
            </a:custGeom>
            <a:solidFill>
              <a:srgbClr val="00749F"/>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anchor="ctr"/>
            <a:lstStyle/>
            <a:p>
              <a:pPr algn="ctr" eaLnBrk="1" hangingPunct="1">
                <a:defRPr/>
              </a:pPr>
              <a:r>
                <a:rPr lang="de-DE" sz="1600" b="1" dirty="0">
                  <a:solidFill>
                    <a:schemeClr val="bg1"/>
                  </a:solidFill>
                </a:rPr>
                <a:t>Ansprüche auf Altersrente</a:t>
              </a:r>
            </a:p>
          </p:txBody>
        </p:sp>
        <p:grpSp>
          <p:nvGrpSpPr>
            <p:cNvPr id="50" name="Gruppieren 49"/>
            <p:cNvGrpSpPr>
              <a:grpSpLocks/>
            </p:cNvGrpSpPr>
            <p:nvPr/>
          </p:nvGrpSpPr>
          <p:grpSpPr bwMode="auto">
            <a:xfrm>
              <a:off x="4854575" y="2978150"/>
              <a:ext cx="2879725" cy="1319213"/>
              <a:chOff x="4765675" y="3143666"/>
              <a:chExt cx="2879725" cy="1318800"/>
            </a:xfrm>
          </p:grpSpPr>
          <p:sp>
            <p:nvSpPr>
              <p:cNvPr id="57" name="Abgerundetes Rechteck 2"/>
              <p:cNvSpPr>
                <a:spLocks noChangeAspect="1"/>
              </p:cNvSpPr>
              <p:nvPr/>
            </p:nvSpPr>
            <p:spPr bwMode="auto">
              <a:xfrm>
                <a:off x="4765675" y="3435675"/>
                <a:ext cx="2879725" cy="363424"/>
              </a:xfrm>
              <a:custGeom>
                <a:avLst/>
                <a:gdLst>
                  <a:gd name="connsiteX0" fmla="*/ 0 w 3419863"/>
                  <a:gd name="connsiteY0" fmla="*/ 111632 h 432817"/>
                  <a:gd name="connsiteX1" fmla="*/ 111632 w 3419863"/>
                  <a:gd name="connsiteY1" fmla="*/ 0 h 432817"/>
                  <a:gd name="connsiteX2" fmla="*/ 3308231 w 3419863"/>
                  <a:gd name="connsiteY2" fmla="*/ 0 h 432817"/>
                  <a:gd name="connsiteX3" fmla="*/ 3419863 w 3419863"/>
                  <a:gd name="connsiteY3" fmla="*/ 111632 h 432817"/>
                  <a:gd name="connsiteX4" fmla="*/ 3419863 w 3419863"/>
                  <a:gd name="connsiteY4" fmla="*/ 321185 h 432817"/>
                  <a:gd name="connsiteX5" fmla="*/ 3308231 w 3419863"/>
                  <a:gd name="connsiteY5" fmla="*/ 432817 h 432817"/>
                  <a:gd name="connsiteX6" fmla="*/ 111632 w 3419863"/>
                  <a:gd name="connsiteY6" fmla="*/ 432817 h 432817"/>
                  <a:gd name="connsiteX7" fmla="*/ 0 w 3419863"/>
                  <a:gd name="connsiteY7" fmla="*/ 321185 h 432817"/>
                  <a:gd name="connsiteX8" fmla="*/ 0 w 3419863"/>
                  <a:gd name="connsiteY8" fmla="*/ 111632 h 432817"/>
                  <a:gd name="connsiteX0" fmla="*/ 0 w 3419863"/>
                  <a:gd name="connsiteY0" fmla="*/ 111632 h 432817"/>
                  <a:gd name="connsiteX1" fmla="*/ 3308231 w 3419863"/>
                  <a:gd name="connsiteY1" fmla="*/ 0 h 432817"/>
                  <a:gd name="connsiteX2" fmla="*/ 3419863 w 3419863"/>
                  <a:gd name="connsiteY2" fmla="*/ 111632 h 432817"/>
                  <a:gd name="connsiteX3" fmla="*/ 3419863 w 3419863"/>
                  <a:gd name="connsiteY3" fmla="*/ 321185 h 432817"/>
                  <a:gd name="connsiteX4" fmla="*/ 3308231 w 3419863"/>
                  <a:gd name="connsiteY4" fmla="*/ 432817 h 432817"/>
                  <a:gd name="connsiteX5" fmla="*/ 111632 w 3419863"/>
                  <a:gd name="connsiteY5" fmla="*/ 432817 h 432817"/>
                  <a:gd name="connsiteX6" fmla="*/ 0 w 3419863"/>
                  <a:gd name="connsiteY6" fmla="*/ 321185 h 432817"/>
                  <a:gd name="connsiteX7" fmla="*/ 0 w 3419863"/>
                  <a:gd name="connsiteY7" fmla="*/ 111632 h 432817"/>
                  <a:gd name="connsiteX0" fmla="*/ 0 w 3419863"/>
                  <a:gd name="connsiteY0" fmla="*/ 111632 h 432817"/>
                  <a:gd name="connsiteX1" fmla="*/ 3308231 w 3419863"/>
                  <a:gd name="connsiteY1" fmla="*/ 0 h 432817"/>
                  <a:gd name="connsiteX2" fmla="*/ 3419863 w 3419863"/>
                  <a:gd name="connsiteY2" fmla="*/ 111632 h 432817"/>
                  <a:gd name="connsiteX3" fmla="*/ 3419863 w 3419863"/>
                  <a:gd name="connsiteY3" fmla="*/ 321185 h 432817"/>
                  <a:gd name="connsiteX4" fmla="*/ 3308231 w 3419863"/>
                  <a:gd name="connsiteY4" fmla="*/ 432817 h 432817"/>
                  <a:gd name="connsiteX5" fmla="*/ 111632 w 3419863"/>
                  <a:gd name="connsiteY5" fmla="*/ 432817 h 432817"/>
                  <a:gd name="connsiteX6" fmla="*/ 0 w 3419863"/>
                  <a:gd name="connsiteY6" fmla="*/ 321185 h 432817"/>
                  <a:gd name="connsiteX7" fmla="*/ 0 w 3419863"/>
                  <a:gd name="connsiteY7" fmla="*/ 111632 h 432817"/>
                  <a:gd name="connsiteX0" fmla="*/ 0 w 3419863"/>
                  <a:gd name="connsiteY0" fmla="*/ 0 h 433103"/>
                  <a:gd name="connsiteX1" fmla="*/ 3308231 w 3419863"/>
                  <a:gd name="connsiteY1" fmla="*/ 286 h 433103"/>
                  <a:gd name="connsiteX2" fmla="*/ 3419863 w 3419863"/>
                  <a:gd name="connsiteY2" fmla="*/ 111918 h 433103"/>
                  <a:gd name="connsiteX3" fmla="*/ 3419863 w 3419863"/>
                  <a:gd name="connsiteY3" fmla="*/ 321471 h 433103"/>
                  <a:gd name="connsiteX4" fmla="*/ 3308231 w 3419863"/>
                  <a:gd name="connsiteY4" fmla="*/ 433103 h 433103"/>
                  <a:gd name="connsiteX5" fmla="*/ 111632 w 3419863"/>
                  <a:gd name="connsiteY5" fmla="*/ 433103 h 433103"/>
                  <a:gd name="connsiteX6" fmla="*/ 0 w 3419863"/>
                  <a:gd name="connsiteY6" fmla="*/ 321471 h 433103"/>
                  <a:gd name="connsiteX7" fmla="*/ 0 w 3419863"/>
                  <a:gd name="connsiteY7" fmla="*/ 0 h 433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19863" h="433103">
                    <a:moveTo>
                      <a:pt x="0" y="0"/>
                    </a:moveTo>
                    <a:lnTo>
                      <a:pt x="3308231" y="286"/>
                    </a:lnTo>
                    <a:cubicBezTo>
                      <a:pt x="3369884" y="286"/>
                      <a:pt x="3419863" y="50265"/>
                      <a:pt x="3419863" y="111918"/>
                    </a:cubicBezTo>
                    <a:lnTo>
                      <a:pt x="3419863" y="321471"/>
                    </a:lnTo>
                    <a:cubicBezTo>
                      <a:pt x="3419863" y="383124"/>
                      <a:pt x="3369884" y="433103"/>
                      <a:pt x="3308231" y="433103"/>
                    </a:cubicBezTo>
                    <a:lnTo>
                      <a:pt x="111632" y="433103"/>
                    </a:lnTo>
                    <a:cubicBezTo>
                      <a:pt x="49979" y="433103"/>
                      <a:pt x="0" y="383124"/>
                      <a:pt x="0" y="321471"/>
                    </a:cubicBezTo>
                    <a:lnTo>
                      <a:pt x="0" y="0"/>
                    </a:lnTo>
                    <a:close/>
                  </a:path>
                </a:pathLst>
              </a:cu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anchor="ctr"/>
              <a:lstStyle/>
              <a:p>
                <a:pPr algn="ctr" eaLnBrk="1" hangingPunct="1">
                  <a:defRPr/>
                </a:pPr>
                <a:r>
                  <a:rPr lang="de-DE" sz="1600" b="1" dirty="0"/>
                  <a:t>Ansprüche auf EWR</a:t>
                </a:r>
              </a:p>
            </p:txBody>
          </p:sp>
          <p:sp>
            <p:nvSpPr>
              <p:cNvPr id="58" name="Abgerundetes Rechteck 2"/>
              <p:cNvSpPr>
                <a:spLocks noChangeAspect="1"/>
              </p:cNvSpPr>
              <p:nvPr/>
            </p:nvSpPr>
            <p:spPr bwMode="auto">
              <a:xfrm>
                <a:off x="4765675" y="4097455"/>
                <a:ext cx="2879725" cy="365011"/>
              </a:xfrm>
              <a:custGeom>
                <a:avLst/>
                <a:gdLst>
                  <a:gd name="connsiteX0" fmla="*/ 0 w 3419863"/>
                  <a:gd name="connsiteY0" fmla="*/ 111632 h 432817"/>
                  <a:gd name="connsiteX1" fmla="*/ 111632 w 3419863"/>
                  <a:gd name="connsiteY1" fmla="*/ 0 h 432817"/>
                  <a:gd name="connsiteX2" fmla="*/ 3308231 w 3419863"/>
                  <a:gd name="connsiteY2" fmla="*/ 0 h 432817"/>
                  <a:gd name="connsiteX3" fmla="*/ 3419863 w 3419863"/>
                  <a:gd name="connsiteY3" fmla="*/ 111632 h 432817"/>
                  <a:gd name="connsiteX4" fmla="*/ 3419863 w 3419863"/>
                  <a:gd name="connsiteY4" fmla="*/ 321185 h 432817"/>
                  <a:gd name="connsiteX5" fmla="*/ 3308231 w 3419863"/>
                  <a:gd name="connsiteY5" fmla="*/ 432817 h 432817"/>
                  <a:gd name="connsiteX6" fmla="*/ 111632 w 3419863"/>
                  <a:gd name="connsiteY6" fmla="*/ 432817 h 432817"/>
                  <a:gd name="connsiteX7" fmla="*/ 0 w 3419863"/>
                  <a:gd name="connsiteY7" fmla="*/ 321185 h 432817"/>
                  <a:gd name="connsiteX8" fmla="*/ 0 w 3419863"/>
                  <a:gd name="connsiteY8" fmla="*/ 111632 h 432817"/>
                  <a:gd name="connsiteX0" fmla="*/ 0 w 3419863"/>
                  <a:gd name="connsiteY0" fmla="*/ 111632 h 432817"/>
                  <a:gd name="connsiteX1" fmla="*/ 3308231 w 3419863"/>
                  <a:gd name="connsiteY1" fmla="*/ 0 h 432817"/>
                  <a:gd name="connsiteX2" fmla="*/ 3419863 w 3419863"/>
                  <a:gd name="connsiteY2" fmla="*/ 111632 h 432817"/>
                  <a:gd name="connsiteX3" fmla="*/ 3419863 w 3419863"/>
                  <a:gd name="connsiteY3" fmla="*/ 321185 h 432817"/>
                  <a:gd name="connsiteX4" fmla="*/ 3308231 w 3419863"/>
                  <a:gd name="connsiteY4" fmla="*/ 432817 h 432817"/>
                  <a:gd name="connsiteX5" fmla="*/ 111632 w 3419863"/>
                  <a:gd name="connsiteY5" fmla="*/ 432817 h 432817"/>
                  <a:gd name="connsiteX6" fmla="*/ 0 w 3419863"/>
                  <a:gd name="connsiteY6" fmla="*/ 321185 h 432817"/>
                  <a:gd name="connsiteX7" fmla="*/ 0 w 3419863"/>
                  <a:gd name="connsiteY7" fmla="*/ 111632 h 432817"/>
                  <a:gd name="connsiteX0" fmla="*/ 0 w 3419863"/>
                  <a:gd name="connsiteY0" fmla="*/ 111632 h 432817"/>
                  <a:gd name="connsiteX1" fmla="*/ 3308231 w 3419863"/>
                  <a:gd name="connsiteY1" fmla="*/ 0 h 432817"/>
                  <a:gd name="connsiteX2" fmla="*/ 3419863 w 3419863"/>
                  <a:gd name="connsiteY2" fmla="*/ 111632 h 432817"/>
                  <a:gd name="connsiteX3" fmla="*/ 3419863 w 3419863"/>
                  <a:gd name="connsiteY3" fmla="*/ 321185 h 432817"/>
                  <a:gd name="connsiteX4" fmla="*/ 3308231 w 3419863"/>
                  <a:gd name="connsiteY4" fmla="*/ 432817 h 432817"/>
                  <a:gd name="connsiteX5" fmla="*/ 111632 w 3419863"/>
                  <a:gd name="connsiteY5" fmla="*/ 432817 h 432817"/>
                  <a:gd name="connsiteX6" fmla="*/ 0 w 3419863"/>
                  <a:gd name="connsiteY6" fmla="*/ 321185 h 432817"/>
                  <a:gd name="connsiteX7" fmla="*/ 0 w 3419863"/>
                  <a:gd name="connsiteY7" fmla="*/ 111632 h 432817"/>
                  <a:gd name="connsiteX0" fmla="*/ 0 w 3419863"/>
                  <a:gd name="connsiteY0" fmla="*/ 0 h 433103"/>
                  <a:gd name="connsiteX1" fmla="*/ 3308231 w 3419863"/>
                  <a:gd name="connsiteY1" fmla="*/ 286 h 433103"/>
                  <a:gd name="connsiteX2" fmla="*/ 3419863 w 3419863"/>
                  <a:gd name="connsiteY2" fmla="*/ 111918 h 433103"/>
                  <a:gd name="connsiteX3" fmla="*/ 3419863 w 3419863"/>
                  <a:gd name="connsiteY3" fmla="*/ 321471 h 433103"/>
                  <a:gd name="connsiteX4" fmla="*/ 3308231 w 3419863"/>
                  <a:gd name="connsiteY4" fmla="*/ 433103 h 433103"/>
                  <a:gd name="connsiteX5" fmla="*/ 111632 w 3419863"/>
                  <a:gd name="connsiteY5" fmla="*/ 433103 h 433103"/>
                  <a:gd name="connsiteX6" fmla="*/ 0 w 3419863"/>
                  <a:gd name="connsiteY6" fmla="*/ 321471 h 433103"/>
                  <a:gd name="connsiteX7" fmla="*/ 0 w 3419863"/>
                  <a:gd name="connsiteY7" fmla="*/ 0 h 433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19863" h="433103">
                    <a:moveTo>
                      <a:pt x="0" y="0"/>
                    </a:moveTo>
                    <a:lnTo>
                      <a:pt x="3308231" y="286"/>
                    </a:lnTo>
                    <a:cubicBezTo>
                      <a:pt x="3369884" y="286"/>
                      <a:pt x="3419863" y="50265"/>
                      <a:pt x="3419863" y="111918"/>
                    </a:cubicBezTo>
                    <a:lnTo>
                      <a:pt x="3419863" y="321471"/>
                    </a:lnTo>
                    <a:cubicBezTo>
                      <a:pt x="3419863" y="383124"/>
                      <a:pt x="3369884" y="433103"/>
                      <a:pt x="3308231" y="433103"/>
                    </a:cubicBezTo>
                    <a:lnTo>
                      <a:pt x="111632" y="433103"/>
                    </a:lnTo>
                    <a:cubicBezTo>
                      <a:pt x="49979" y="433103"/>
                      <a:pt x="0" y="383124"/>
                      <a:pt x="0" y="321471"/>
                    </a:cubicBezTo>
                    <a:lnTo>
                      <a:pt x="0" y="0"/>
                    </a:lnTo>
                    <a:close/>
                  </a:path>
                </a:pathLst>
              </a:cu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anchor="ctr"/>
              <a:lstStyle/>
              <a:p>
                <a:pPr algn="ctr" eaLnBrk="1" hangingPunct="1">
                  <a:defRPr/>
                </a:pPr>
                <a:r>
                  <a:rPr lang="de-DE" sz="1600" b="1" dirty="0"/>
                  <a:t>Ansprüche auf Reha</a:t>
                </a:r>
              </a:p>
            </p:txBody>
          </p:sp>
          <p:sp>
            <p:nvSpPr>
              <p:cNvPr id="59" name="Plus 58"/>
              <p:cNvSpPr/>
              <p:nvPr/>
            </p:nvSpPr>
            <p:spPr>
              <a:xfrm>
                <a:off x="6061537" y="3143666"/>
                <a:ext cx="288000" cy="287910"/>
              </a:xfrm>
              <a:prstGeom prst="mathPlus">
                <a:avLst>
                  <a:gd name="adj1" fmla="val 13161"/>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de-DE"/>
              </a:p>
            </p:txBody>
          </p:sp>
        </p:grpSp>
        <p:grpSp>
          <p:nvGrpSpPr>
            <p:cNvPr id="51" name="Gruppieren 50"/>
            <p:cNvGrpSpPr>
              <a:grpSpLocks/>
            </p:cNvGrpSpPr>
            <p:nvPr/>
          </p:nvGrpSpPr>
          <p:grpSpPr bwMode="auto">
            <a:xfrm>
              <a:off x="4854575" y="4294206"/>
              <a:ext cx="2879725" cy="638178"/>
              <a:chOff x="4765675" y="4459711"/>
              <a:chExt cx="2879725" cy="637875"/>
            </a:xfrm>
          </p:grpSpPr>
          <p:sp>
            <p:nvSpPr>
              <p:cNvPr id="55" name="Abgerundetes Rechteck 2"/>
              <p:cNvSpPr>
                <a:spLocks noChangeAspect="1"/>
              </p:cNvSpPr>
              <p:nvPr/>
            </p:nvSpPr>
            <p:spPr bwMode="auto">
              <a:xfrm>
                <a:off x="4765675" y="4732633"/>
                <a:ext cx="2879725" cy="364953"/>
              </a:xfrm>
              <a:custGeom>
                <a:avLst/>
                <a:gdLst>
                  <a:gd name="connsiteX0" fmla="*/ 0 w 3419863"/>
                  <a:gd name="connsiteY0" fmla="*/ 111632 h 432817"/>
                  <a:gd name="connsiteX1" fmla="*/ 111632 w 3419863"/>
                  <a:gd name="connsiteY1" fmla="*/ 0 h 432817"/>
                  <a:gd name="connsiteX2" fmla="*/ 3308231 w 3419863"/>
                  <a:gd name="connsiteY2" fmla="*/ 0 h 432817"/>
                  <a:gd name="connsiteX3" fmla="*/ 3419863 w 3419863"/>
                  <a:gd name="connsiteY3" fmla="*/ 111632 h 432817"/>
                  <a:gd name="connsiteX4" fmla="*/ 3419863 w 3419863"/>
                  <a:gd name="connsiteY4" fmla="*/ 321185 h 432817"/>
                  <a:gd name="connsiteX5" fmla="*/ 3308231 w 3419863"/>
                  <a:gd name="connsiteY5" fmla="*/ 432817 h 432817"/>
                  <a:gd name="connsiteX6" fmla="*/ 111632 w 3419863"/>
                  <a:gd name="connsiteY6" fmla="*/ 432817 h 432817"/>
                  <a:gd name="connsiteX7" fmla="*/ 0 w 3419863"/>
                  <a:gd name="connsiteY7" fmla="*/ 321185 h 432817"/>
                  <a:gd name="connsiteX8" fmla="*/ 0 w 3419863"/>
                  <a:gd name="connsiteY8" fmla="*/ 111632 h 432817"/>
                  <a:gd name="connsiteX0" fmla="*/ 0 w 3419863"/>
                  <a:gd name="connsiteY0" fmla="*/ 111632 h 432817"/>
                  <a:gd name="connsiteX1" fmla="*/ 3308231 w 3419863"/>
                  <a:gd name="connsiteY1" fmla="*/ 0 h 432817"/>
                  <a:gd name="connsiteX2" fmla="*/ 3419863 w 3419863"/>
                  <a:gd name="connsiteY2" fmla="*/ 111632 h 432817"/>
                  <a:gd name="connsiteX3" fmla="*/ 3419863 w 3419863"/>
                  <a:gd name="connsiteY3" fmla="*/ 321185 h 432817"/>
                  <a:gd name="connsiteX4" fmla="*/ 3308231 w 3419863"/>
                  <a:gd name="connsiteY4" fmla="*/ 432817 h 432817"/>
                  <a:gd name="connsiteX5" fmla="*/ 111632 w 3419863"/>
                  <a:gd name="connsiteY5" fmla="*/ 432817 h 432817"/>
                  <a:gd name="connsiteX6" fmla="*/ 0 w 3419863"/>
                  <a:gd name="connsiteY6" fmla="*/ 321185 h 432817"/>
                  <a:gd name="connsiteX7" fmla="*/ 0 w 3419863"/>
                  <a:gd name="connsiteY7" fmla="*/ 111632 h 432817"/>
                  <a:gd name="connsiteX0" fmla="*/ 0 w 3419863"/>
                  <a:gd name="connsiteY0" fmla="*/ 111632 h 432817"/>
                  <a:gd name="connsiteX1" fmla="*/ 3308231 w 3419863"/>
                  <a:gd name="connsiteY1" fmla="*/ 0 h 432817"/>
                  <a:gd name="connsiteX2" fmla="*/ 3419863 w 3419863"/>
                  <a:gd name="connsiteY2" fmla="*/ 111632 h 432817"/>
                  <a:gd name="connsiteX3" fmla="*/ 3419863 w 3419863"/>
                  <a:gd name="connsiteY3" fmla="*/ 321185 h 432817"/>
                  <a:gd name="connsiteX4" fmla="*/ 3308231 w 3419863"/>
                  <a:gd name="connsiteY4" fmla="*/ 432817 h 432817"/>
                  <a:gd name="connsiteX5" fmla="*/ 111632 w 3419863"/>
                  <a:gd name="connsiteY5" fmla="*/ 432817 h 432817"/>
                  <a:gd name="connsiteX6" fmla="*/ 0 w 3419863"/>
                  <a:gd name="connsiteY6" fmla="*/ 321185 h 432817"/>
                  <a:gd name="connsiteX7" fmla="*/ 0 w 3419863"/>
                  <a:gd name="connsiteY7" fmla="*/ 111632 h 432817"/>
                  <a:gd name="connsiteX0" fmla="*/ 0 w 3419863"/>
                  <a:gd name="connsiteY0" fmla="*/ 0 h 433103"/>
                  <a:gd name="connsiteX1" fmla="*/ 3308231 w 3419863"/>
                  <a:gd name="connsiteY1" fmla="*/ 286 h 433103"/>
                  <a:gd name="connsiteX2" fmla="*/ 3419863 w 3419863"/>
                  <a:gd name="connsiteY2" fmla="*/ 111918 h 433103"/>
                  <a:gd name="connsiteX3" fmla="*/ 3419863 w 3419863"/>
                  <a:gd name="connsiteY3" fmla="*/ 321471 h 433103"/>
                  <a:gd name="connsiteX4" fmla="*/ 3308231 w 3419863"/>
                  <a:gd name="connsiteY4" fmla="*/ 433103 h 433103"/>
                  <a:gd name="connsiteX5" fmla="*/ 111632 w 3419863"/>
                  <a:gd name="connsiteY5" fmla="*/ 433103 h 433103"/>
                  <a:gd name="connsiteX6" fmla="*/ 0 w 3419863"/>
                  <a:gd name="connsiteY6" fmla="*/ 321471 h 433103"/>
                  <a:gd name="connsiteX7" fmla="*/ 0 w 3419863"/>
                  <a:gd name="connsiteY7" fmla="*/ 0 h 433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19863" h="433103">
                    <a:moveTo>
                      <a:pt x="0" y="0"/>
                    </a:moveTo>
                    <a:lnTo>
                      <a:pt x="3308231" y="286"/>
                    </a:lnTo>
                    <a:cubicBezTo>
                      <a:pt x="3369884" y="286"/>
                      <a:pt x="3419863" y="50265"/>
                      <a:pt x="3419863" y="111918"/>
                    </a:cubicBezTo>
                    <a:lnTo>
                      <a:pt x="3419863" y="321471"/>
                    </a:lnTo>
                    <a:cubicBezTo>
                      <a:pt x="3419863" y="383124"/>
                      <a:pt x="3369884" y="433103"/>
                      <a:pt x="3308231" y="433103"/>
                    </a:cubicBezTo>
                    <a:lnTo>
                      <a:pt x="111632" y="433103"/>
                    </a:lnTo>
                    <a:cubicBezTo>
                      <a:pt x="49979" y="433103"/>
                      <a:pt x="0" y="383124"/>
                      <a:pt x="0" y="321471"/>
                    </a:cubicBezTo>
                    <a:lnTo>
                      <a:pt x="0" y="0"/>
                    </a:lnTo>
                    <a:close/>
                  </a:path>
                </a:pathLst>
              </a:cu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anchor="ctr"/>
              <a:lstStyle/>
              <a:p>
                <a:pPr algn="ctr" eaLnBrk="1" hangingPunct="1">
                  <a:defRPr/>
                </a:pPr>
                <a:r>
                  <a:rPr lang="de-DE" sz="1600" b="1" dirty="0"/>
                  <a:t>Erfüllung Pflichtzeiten</a:t>
                </a:r>
              </a:p>
            </p:txBody>
          </p:sp>
          <p:sp>
            <p:nvSpPr>
              <p:cNvPr id="56" name="Plus 55"/>
              <p:cNvSpPr/>
              <p:nvPr/>
            </p:nvSpPr>
            <p:spPr>
              <a:xfrm>
                <a:off x="6061537" y="4459711"/>
                <a:ext cx="288000" cy="287864"/>
              </a:xfrm>
              <a:prstGeom prst="mathPlus">
                <a:avLst>
                  <a:gd name="adj1" fmla="val 13161"/>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de-DE"/>
              </a:p>
            </p:txBody>
          </p:sp>
        </p:grpSp>
        <p:grpSp>
          <p:nvGrpSpPr>
            <p:cNvPr id="52" name="Gruppieren 51"/>
            <p:cNvGrpSpPr>
              <a:grpSpLocks/>
            </p:cNvGrpSpPr>
            <p:nvPr/>
          </p:nvGrpSpPr>
          <p:grpSpPr bwMode="auto">
            <a:xfrm>
              <a:off x="7459663" y="3068638"/>
              <a:ext cx="1439862" cy="1439862"/>
              <a:chOff x="6997260" y="3200299"/>
              <a:chExt cx="1440000" cy="1440000"/>
            </a:xfrm>
          </p:grpSpPr>
          <p:pic>
            <p:nvPicPr>
              <p:cNvPr id="53" name="Grafik 19"/>
              <p:cNvPicPr>
                <a:picLocks noChangeAspect="1"/>
              </p:cNvPicPr>
              <p:nvPr/>
            </p:nvPicPr>
            <p:blipFill>
              <a:blip r:embed="rId2" cstate="print">
                <a:extLst>
                  <a:ext uri="{28A0092B-C50C-407E-A947-70E740481C1C}">
                    <a14:useLocalDpi xmlns:a14="http://schemas.microsoft.com/office/drawing/2010/main"/>
                  </a:ext>
                </a:extLst>
              </a:blip>
              <a:srcRect/>
              <a:stretch>
                <a:fillRect/>
              </a:stretch>
            </p:blipFill>
            <p:spPr bwMode="auto">
              <a:xfrm>
                <a:off x="6997260" y="3200299"/>
                <a:ext cx="1440000" cy="14374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4" name="Rechteck 21"/>
              <p:cNvSpPr>
                <a:spLocks noChangeArrowheads="1"/>
              </p:cNvSpPr>
              <p:nvPr/>
            </p:nvSpPr>
            <p:spPr bwMode="auto">
              <a:xfrm rot="360000">
                <a:off x="6997260" y="3200299"/>
                <a:ext cx="1440000" cy="144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spcBef>
                    <a:spcPts val="1600"/>
                  </a:spcBef>
                  <a:defRPr sz="1700">
                    <a:solidFill>
                      <a:schemeClr val="tx1"/>
                    </a:solidFill>
                    <a:latin typeface="Arial" charset="0"/>
                  </a:defRPr>
                </a:lvl1pPr>
                <a:lvl2pPr marL="742950" indent="-285750">
                  <a:spcBef>
                    <a:spcPts val="1600"/>
                  </a:spcBef>
                  <a:buSzPct val="100000"/>
                  <a:buBlip>
                    <a:blip r:embed="rId3"/>
                  </a:buBlip>
                  <a:defRPr sz="1700">
                    <a:solidFill>
                      <a:schemeClr val="tx1"/>
                    </a:solidFill>
                    <a:latin typeface="Arial" charset="0"/>
                  </a:defRPr>
                </a:lvl2pPr>
                <a:lvl3pPr marL="1143000" indent="-228600">
                  <a:spcBef>
                    <a:spcPts val="1600"/>
                  </a:spcBef>
                  <a:buSzPct val="100000"/>
                  <a:buBlip>
                    <a:blip r:embed="rId3"/>
                  </a:buBlip>
                  <a:defRPr sz="1700">
                    <a:solidFill>
                      <a:schemeClr val="tx1"/>
                    </a:solidFill>
                    <a:latin typeface="Arial" charset="0"/>
                  </a:defRPr>
                </a:lvl3pPr>
                <a:lvl4pPr marL="1600200" indent="-228600">
                  <a:spcBef>
                    <a:spcPts val="1600"/>
                  </a:spcBef>
                  <a:buSzPct val="100000"/>
                  <a:buBlip>
                    <a:blip r:embed="rId3"/>
                  </a:buBlip>
                  <a:defRPr sz="1700">
                    <a:solidFill>
                      <a:schemeClr val="tx1"/>
                    </a:solidFill>
                    <a:latin typeface="Arial" charset="0"/>
                  </a:defRPr>
                </a:lvl4pPr>
                <a:lvl5pPr marL="2057400" indent="-228600">
                  <a:spcBef>
                    <a:spcPts val="1600"/>
                  </a:spcBef>
                  <a:buSzPct val="100000"/>
                  <a:buBlip>
                    <a:blip r:embed="rId3"/>
                  </a:buBlip>
                  <a:defRPr sz="1700">
                    <a:solidFill>
                      <a:schemeClr val="tx1"/>
                    </a:solidFill>
                    <a:latin typeface="Arial" charset="0"/>
                  </a:defRPr>
                </a:lvl5pPr>
                <a:lvl6pPr marL="2514600" indent="-228600" defTabSz="457200" eaLnBrk="0" fontAlgn="base" hangingPunct="0">
                  <a:spcBef>
                    <a:spcPts val="1600"/>
                  </a:spcBef>
                  <a:spcAft>
                    <a:spcPct val="0"/>
                  </a:spcAft>
                  <a:buSzPct val="100000"/>
                  <a:buBlip>
                    <a:blip r:embed="rId3"/>
                  </a:buBlip>
                  <a:defRPr sz="1700">
                    <a:solidFill>
                      <a:schemeClr val="tx1"/>
                    </a:solidFill>
                    <a:latin typeface="Arial" charset="0"/>
                  </a:defRPr>
                </a:lvl6pPr>
                <a:lvl7pPr marL="2971800" indent="-228600" defTabSz="457200" eaLnBrk="0" fontAlgn="base" hangingPunct="0">
                  <a:spcBef>
                    <a:spcPts val="1600"/>
                  </a:spcBef>
                  <a:spcAft>
                    <a:spcPct val="0"/>
                  </a:spcAft>
                  <a:buSzPct val="100000"/>
                  <a:buBlip>
                    <a:blip r:embed="rId3"/>
                  </a:buBlip>
                  <a:defRPr sz="1700">
                    <a:solidFill>
                      <a:schemeClr val="tx1"/>
                    </a:solidFill>
                    <a:latin typeface="Arial" charset="0"/>
                  </a:defRPr>
                </a:lvl7pPr>
                <a:lvl8pPr marL="3429000" indent="-228600" defTabSz="457200" eaLnBrk="0" fontAlgn="base" hangingPunct="0">
                  <a:spcBef>
                    <a:spcPts val="1600"/>
                  </a:spcBef>
                  <a:spcAft>
                    <a:spcPct val="0"/>
                  </a:spcAft>
                  <a:buSzPct val="100000"/>
                  <a:buBlip>
                    <a:blip r:embed="rId3"/>
                  </a:buBlip>
                  <a:defRPr sz="1700">
                    <a:solidFill>
                      <a:schemeClr val="tx1"/>
                    </a:solidFill>
                    <a:latin typeface="Arial" charset="0"/>
                  </a:defRPr>
                </a:lvl8pPr>
                <a:lvl9pPr marL="3886200" indent="-228600" defTabSz="457200" eaLnBrk="0" fontAlgn="base" hangingPunct="0">
                  <a:spcBef>
                    <a:spcPts val="1600"/>
                  </a:spcBef>
                  <a:spcAft>
                    <a:spcPct val="0"/>
                  </a:spcAft>
                  <a:buSzPct val="100000"/>
                  <a:buBlip>
                    <a:blip r:embed="rId3"/>
                  </a:buBlip>
                  <a:defRPr sz="1700">
                    <a:solidFill>
                      <a:schemeClr val="tx1"/>
                    </a:solidFill>
                    <a:latin typeface="Arial" charset="0"/>
                  </a:defRPr>
                </a:lvl9pPr>
              </a:lstStyle>
              <a:p>
                <a:pPr algn="ctr" eaLnBrk="1" hangingPunct="1">
                  <a:spcBef>
                    <a:spcPct val="0"/>
                  </a:spcBef>
                </a:pPr>
                <a:r>
                  <a:rPr lang="de-DE" altLang="de-DE" sz="1000" b="1" dirty="0">
                    <a:solidFill>
                      <a:schemeClr val="bg1"/>
                    </a:solidFill>
                  </a:rPr>
                  <a:t>Zu den </a:t>
                </a:r>
              </a:p>
              <a:p>
                <a:pPr algn="ctr" eaLnBrk="1" hangingPunct="1">
                  <a:spcBef>
                    <a:spcPct val="0"/>
                  </a:spcBef>
                </a:pPr>
                <a:r>
                  <a:rPr lang="de-DE" altLang="de-DE" sz="1000" b="1" dirty="0">
                    <a:solidFill>
                      <a:schemeClr val="bg1"/>
                    </a:solidFill>
                  </a:rPr>
                  <a:t>Besonderheiten </a:t>
                </a:r>
              </a:p>
              <a:p>
                <a:pPr algn="ctr" eaLnBrk="1" hangingPunct="1">
                  <a:spcBef>
                    <a:spcPct val="0"/>
                  </a:spcBef>
                </a:pPr>
                <a:r>
                  <a:rPr lang="de-DE" altLang="de-DE" sz="1000" b="1" dirty="0">
                    <a:solidFill>
                      <a:schemeClr val="bg1"/>
                    </a:solidFill>
                  </a:rPr>
                  <a:t>der gesetzlichen </a:t>
                </a:r>
              </a:p>
              <a:p>
                <a:pPr algn="ctr" eaLnBrk="1" hangingPunct="1">
                  <a:spcBef>
                    <a:spcPct val="0"/>
                  </a:spcBef>
                </a:pPr>
                <a:r>
                  <a:rPr lang="de-DE" altLang="de-DE" sz="1000" b="1" dirty="0">
                    <a:solidFill>
                      <a:schemeClr val="bg1"/>
                    </a:solidFill>
                  </a:rPr>
                  <a:t>Rentenversicherung berät die Deutsche </a:t>
                </a:r>
                <a:r>
                  <a:rPr lang="de-DE" altLang="de-DE" sz="1000" b="1" dirty="0" err="1">
                    <a:solidFill>
                      <a:schemeClr val="bg1"/>
                    </a:solidFill>
                  </a:rPr>
                  <a:t>Rentenversiche</a:t>
                </a:r>
                <a:r>
                  <a:rPr lang="de-DE" altLang="de-DE" sz="1000" b="1" dirty="0">
                    <a:solidFill>
                      <a:schemeClr val="bg1"/>
                    </a:solidFill>
                  </a:rPr>
                  <a:t>-</a:t>
                </a:r>
              </a:p>
              <a:p>
                <a:pPr algn="ctr" eaLnBrk="1" hangingPunct="1">
                  <a:spcBef>
                    <a:spcPct val="0"/>
                  </a:spcBef>
                </a:pPr>
                <a:r>
                  <a:rPr lang="de-DE" altLang="de-DE" sz="1000" b="1" dirty="0" err="1">
                    <a:solidFill>
                      <a:schemeClr val="bg1"/>
                    </a:solidFill>
                  </a:rPr>
                  <a:t>rung</a:t>
                </a:r>
                <a:r>
                  <a:rPr lang="de-DE" altLang="de-DE" sz="1000" b="1" dirty="0">
                    <a:solidFill>
                      <a:schemeClr val="bg1"/>
                    </a:solidFill>
                  </a:rPr>
                  <a:t> Bund </a:t>
                </a:r>
              </a:p>
              <a:p>
                <a:pPr algn="ctr" eaLnBrk="1" hangingPunct="1">
                  <a:spcBef>
                    <a:spcPct val="0"/>
                  </a:spcBef>
                </a:pPr>
                <a:r>
                  <a:rPr lang="de-DE" altLang="de-DE" sz="1000" b="1" dirty="0">
                    <a:solidFill>
                      <a:schemeClr val="bg1"/>
                    </a:solidFill>
                  </a:rPr>
                  <a:t>(DRV)</a:t>
                </a:r>
              </a:p>
            </p:txBody>
          </p:sp>
        </p:grpSp>
      </p:grpSp>
      <p:sp>
        <p:nvSpPr>
          <p:cNvPr id="60" name="Textplatzhalter 2"/>
          <p:cNvSpPr txBox="1">
            <a:spLocks/>
          </p:cNvSpPr>
          <p:nvPr/>
        </p:nvSpPr>
        <p:spPr>
          <a:xfrm>
            <a:off x="358775" y="2562225"/>
            <a:ext cx="4213226" cy="2952750"/>
          </a:xfrm>
          <a:prstGeom prst="rect">
            <a:avLst/>
          </a:prstGeom>
        </p:spPr>
        <p:txBody>
          <a:bodyPr vert="horz" lIns="0" tIns="0" rIns="0" bIns="0" rtlCol="0">
            <a:normAutofit/>
          </a:bodyPr>
          <a:lstStyle>
            <a:lvl1pPr marL="0" indent="0" algn="l" defTabSz="457200" rtl="0" eaLnBrk="0" fontAlgn="base" hangingPunct="0">
              <a:spcBef>
                <a:spcPts val="0"/>
              </a:spcBef>
              <a:spcAft>
                <a:spcPts val="1200"/>
              </a:spcAft>
              <a:defRPr lang="de-DE" sz="1700" b="1" kern="1200" dirty="0">
                <a:solidFill>
                  <a:schemeClr val="tx1"/>
                </a:solidFill>
                <a:latin typeface="+mn-lt"/>
                <a:ea typeface="+mn-ea"/>
                <a:cs typeface="+mn-cs"/>
              </a:defRPr>
            </a:lvl1pPr>
            <a:lvl2pPr marL="269875" indent="-269875" algn="l" defTabSz="457200" rtl="0" eaLnBrk="0" fontAlgn="base" hangingPunct="0">
              <a:spcBef>
                <a:spcPts val="600"/>
              </a:spcBef>
              <a:spcAft>
                <a:spcPts val="600"/>
              </a:spcAft>
              <a:buClr>
                <a:schemeClr val="tx2"/>
              </a:buClr>
              <a:buSzPct val="100000"/>
              <a:buFont typeface="Arial" panose="020B0604020202020204" pitchFamily="34" charset="0"/>
              <a:buChar char="●"/>
              <a:defRPr lang="de-DE" altLang="de-DE" sz="1700" kern="1200" dirty="0" smtClean="0">
                <a:solidFill>
                  <a:schemeClr val="tx1"/>
                </a:solidFill>
                <a:latin typeface="+mn-lt"/>
                <a:ea typeface="+mn-ea"/>
                <a:cs typeface="+mn-cs"/>
              </a:defRPr>
            </a:lvl2pPr>
            <a:lvl3pPr marL="625475" indent="-269875" algn="l" defTabSz="457200" rtl="0" eaLnBrk="0" fontAlgn="base" hangingPunct="0">
              <a:spcBef>
                <a:spcPts val="600"/>
              </a:spcBef>
              <a:spcAft>
                <a:spcPts val="600"/>
              </a:spcAft>
              <a:buClr>
                <a:schemeClr val="tx2"/>
              </a:buClr>
              <a:buSzPct val="100000"/>
              <a:buFont typeface="Arial" panose="020B0604020202020204" pitchFamily="34" charset="0"/>
              <a:buChar char="●"/>
              <a:defRPr lang="de-DE" sz="1700" kern="1200" dirty="0" smtClean="0">
                <a:solidFill>
                  <a:schemeClr val="tx1"/>
                </a:solidFill>
                <a:latin typeface="+mn-lt"/>
                <a:ea typeface="+mn-ea"/>
                <a:cs typeface="+mn-cs"/>
              </a:defRPr>
            </a:lvl3pPr>
            <a:lvl4pPr marL="1076325" indent="-269875" algn="l" defTabSz="457200" rtl="0" eaLnBrk="0" fontAlgn="base" hangingPunct="0">
              <a:spcBef>
                <a:spcPts val="600"/>
              </a:spcBef>
              <a:spcAft>
                <a:spcPts val="600"/>
              </a:spcAft>
              <a:buClr>
                <a:schemeClr val="tx2"/>
              </a:buClr>
              <a:buSzPct val="100000"/>
              <a:buFont typeface="Arial" panose="020B0604020202020204" pitchFamily="34" charset="0"/>
              <a:buChar char="●"/>
              <a:defRPr lang="de-DE" sz="1700" kern="1200" dirty="0">
                <a:solidFill>
                  <a:schemeClr val="tx1"/>
                </a:solidFill>
                <a:latin typeface="+mn-lt"/>
                <a:ea typeface="+mn-ea"/>
                <a:cs typeface="+mn-cs"/>
              </a:defRPr>
            </a:lvl4pPr>
            <a:lvl5pPr marL="269875" indent="-269875" algn="l" defTabSz="457200" rtl="0" eaLnBrk="0" fontAlgn="base" hangingPunct="0">
              <a:spcBef>
                <a:spcPts val="0"/>
              </a:spcBef>
              <a:spcAft>
                <a:spcPts val="600"/>
              </a:spcAft>
              <a:buSzPct val="100000"/>
              <a:buBlip>
                <a:blip r:embed="rId3"/>
              </a:buBlip>
              <a:defRPr lang="de-DE" sz="1700" kern="1200" dirty="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lvl="1">
              <a:spcAft>
                <a:spcPts val="800"/>
              </a:spcAft>
            </a:pPr>
            <a:r>
              <a:rPr lang="de-DE" sz="1550" dirty="0"/>
              <a:t>Erstmalige Begründung bzw. Erhöhung von Anwartschaften auf </a:t>
            </a:r>
            <a:r>
              <a:rPr lang="de-DE" sz="1550" b="1" dirty="0"/>
              <a:t>Altersrente</a:t>
            </a:r>
            <a:r>
              <a:rPr lang="de-DE" sz="1550" dirty="0"/>
              <a:t>.</a:t>
            </a:r>
          </a:p>
          <a:p>
            <a:pPr lvl="1">
              <a:spcAft>
                <a:spcPts val="800"/>
              </a:spcAft>
            </a:pPr>
            <a:r>
              <a:rPr lang="de-DE" sz="1550" dirty="0"/>
              <a:t>Erstmalige Begründung bzw. Erhalt von Ansprüchen auf </a:t>
            </a:r>
            <a:r>
              <a:rPr lang="de-DE" sz="1550" b="1" dirty="0"/>
              <a:t>Erwerbsminderungsrente</a:t>
            </a:r>
            <a:r>
              <a:rPr lang="de-DE" sz="1550" dirty="0"/>
              <a:t>.</a:t>
            </a:r>
          </a:p>
          <a:p>
            <a:pPr lvl="1">
              <a:spcAft>
                <a:spcPts val="800"/>
              </a:spcAft>
            </a:pPr>
            <a:r>
              <a:rPr lang="de-DE" sz="1550" dirty="0"/>
              <a:t>Erstmalige Begründung bzw. Erhalt von Ansprüchen auf </a:t>
            </a:r>
            <a:r>
              <a:rPr lang="de-DE" sz="1550" b="1" dirty="0"/>
              <a:t>Reha-Maßnahmen</a:t>
            </a:r>
            <a:r>
              <a:rPr lang="de-DE" sz="1550" dirty="0"/>
              <a:t>. </a:t>
            </a:r>
          </a:p>
          <a:p>
            <a:pPr lvl="1">
              <a:spcAft>
                <a:spcPts val="800"/>
              </a:spcAft>
            </a:pPr>
            <a:r>
              <a:rPr lang="de-DE" sz="1550" dirty="0"/>
              <a:t>Erfüllung bzw. Erhöhung von </a:t>
            </a:r>
            <a:r>
              <a:rPr lang="de-DE" sz="1550" b="1" dirty="0"/>
              <a:t>Pflichtzeiten</a:t>
            </a:r>
            <a:r>
              <a:rPr lang="de-DE" sz="1550" dirty="0"/>
              <a:t> – wichtig für besonders langjährig Versicherte.</a:t>
            </a:r>
          </a:p>
        </p:txBody>
      </p:sp>
    </p:spTree>
    <p:extLst>
      <p:ext uri="{BB962C8B-B14F-4D97-AF65-F5344CB8AC3E}">
        <p14:creationId xmlns:p14="http://schemas.microsoft.com/office/powerpoint/2010/main" val="359395547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812732"/>
            <a:ext cx="9144000" cy="6045268"/>
          </a:xfrm>
          <a:prstGeom prst="rect">
            <a:avLst/>
          </a:prstGeom>
        </p:spPr>
      </p:pic>
      <p:sp>
        <p:nvSpPr>
          <p:cNvPr id="6" name="Abgerundetes Rechteck 18"/>
          <p:cNvSpPr/>
          <p:nvPr/>
        </p:nvSpPr>
        <p:spPr>
          <a:xfrm>
            <a:off x="1099867" y="4840181"/>
            <a:ext cx="6925196" cy="1197499"/>
          </a:xfrm>
          <a:custGeom>
            <a:avLst/>
            <a:gdLst>
              <a:gd name="connsiteX0" fmla="*/ 0 w 6925196"/>
              <a:gd name="connsiteY0" fmla="*/ 199587 h 1197499"/>
              <a:gd name="connsiteX1" fmla="*/ 199587 w 6925196"/>
              <a:gd name="connsiteY1" fmla="*/ 0 h 1197499"/>
              <a:gd name="connsiteX2" fmla="*/ 6725609 w 6925196"/>
              <a:gd name="connsiteY2" fmla="*/ 0 h 1197499"/>
              <a:gd name="connsiteX3" fmla="*/ 6925196 w 6925196"/>
              <a:gd name="connsiteY3" fmla="*/ 199587 h 1197499"/>
              <a:gd name="connsiteX4" fmla="*/ 6925196 w 6925196"/>
              <a:gd name="connsiteY4" fmla="*/ 997912 h 1197499"/>
              <a:gd name="connsiteX5" fmla="*/ 6725609 w 6925196"/>
              <a:gd name="connsiteY5" fmla="*/ 1197499 h 1197499"/>
              <a:gd name="connsiteX6" fmla="*/ 199587 w 6925196"/>
              <a:gd name="connsiteY6" fmla="*/ 1197499 h 1197499"/>
              <a:gd name="connsiteX7" fmla="*/ 0 w 6925196"/>
              <a:gd name="connsiteY7" fmla="*/ 997912 h 1197499"/>
              <a:gd name="connsiteX8" fmla="*/ 0 w 6925196"/>
              <a:gd name="connsiteY8" fmla="*/ 199587 h 1197499"/>
              <a:gd name="connsiteX0" fmla="*/ 0 w 6925196"/>
              <a:gd name="connsiteY0" fmla="*/ 997912 h 1197499"/>
              <a:gd name="connsiteX1" fmla="*/ 199587 w 6925196"/>
              <a:gd name="connsiteY1" fmla="*/ 0 h 1197499"/>
              <a:gd name="connsiteX2" fmla="*/ 6725609 w 6925196"/>
              <a:gd name="connsiteY2" fmla="*/ 0 h 1197499"/>
              <a:gd name="connsiteX3" fmla="*/ 6925196 w 6925196"/>
              <a:gd name="connsiteY3" fmla="*/ 199587 h 1197499"/>
              <a:gd name="connsiteX4" fmla="*/ 6925196 w 6925196"/>
              <a:gd name="connsiteY4" fmla="*/ 997912 h 1197499"/>
              <a:gd name="connsiteX5" fmla="*/ 6725609 w 6925196"/>
              <a:gd name="connsiteY5" fmla="*/ 1197499 h 1197499"/>
              <a:gd name="connsiteX6" fmla="*/ 199587 w 6925196"/>
              <a:gd name="connsiteY6" fmla="*/ 1197499 h 1197499"/>
              <a:gd name="connsiteX7" fmla="*/ 0 w 6925196"/>
              <a:gd name="connsiteY7" fmla="*/ 997912 h 1197499"/>
              <a:gd name="connsiteX0" fmla="*/ 0 w 6925196"/>
              <a:gd name="connsiteY0" fmla="*/ 997912 h 1197499"/>
              <a:gd name="connsiteX1" fmla="*/ 1179 w 6925196"/>
              <a:gd name="connsiteY1" fmla="*/ 0 h 1197499"/>
              <a:gd name="connsiteX2" fmla="*/ 6725609 w 6925196"/>
              <a:gd name="connsiteY2" fmla="*/ 0 h 1197499"/>
              <a:gd name="connsiteX3" fmla="*/ 6925196 w 6925196"/>
              <a:gd name="connsiteY3" fmla="*/ 199587 h 1197499"/>
              <a:gd name="connsiteX4" fmla="*/ 6925196 w 6925196"/>
              <a:gd name="connsiteY4" fmla="*/ 997912 h 1197499"/>
              <a:gd name="connsiteX5" fmla="*/ 6725609 w 6925196"/>
              <a:gd name="connsiteY5" fmla="*/ 1197499 h 1197499"/>
              <a:gd name="connsiteX6" fmla="*/ 199587 w 6925196"/>
              <a:gd name="connsiteY6" fmla="*/ 1197499 h 1197499"/>
              <a:gd name="connsiteX7" fmla="*/ 0 w 6925196"/>
              <a:gd name="connsiteY7" fmla="*/ 997912 h 1197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25196" h="1197499">
                <a:moveTo>
                  <a:pt x="0" y="997912"/>
                </a:moveTo>
                <a:lnTo>
                  <a:pt x="1179" y="0"/>
                </a:lnTo>
                <a:lnTo>
                  <a:pt x="6725609" y="0"/>
                </a:lnTo>
                <a:cubicBezTo>
                  <a:pt x="6835838" y="0"/>
                  <a:pt x="6925196" y="89358"/>
                  <a:pt x="6925196" y="199587"/>
                </a:cubicBezTo>
                <a:lnTo>
                  <a:pt x="6925196" y="997912"/>
                </a:lnTo>
                <a:cubicBezTo>
                  <a:pt x="6925196" y="1108141"/>
                  <a:pt x="6835838" y="1197499"/>
                  <a:pt x="6725609" y="1197499"/>
                </a:cubicBezTo>
                <a:lnTo>
                  <a:pt x="199587" y="1197499"/>
                </a:lnTo>
                <a:cubicBezTo>
                  <a:pt x="89358" y="1197499"/>
                  <a:pt x="0" y="1108141"/>
                  <a:pt x="0" y="997912"/>
                </a:cubicBezTo>
                <a:close/>
              </a:path>
            </a:pathLst>
          </a:custGeom>
          <a:solidFill>
            <a:schemeClr val="bg1">
              <a:alpha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Titel 2"/>
          <p:cNvSpPr>
            <a:spLocks noGrp="1"/>
          </p:cNvSpPr>
          <p:nvPr>
            <p:ph type="title"/>
          </p:nvPr>
        </p:nvSpPr>
        <p:spPr/>
        <p:txBody>
          <a:bodyPr/>
          <a:lstStyle/>
          <a:p>
            <a:r>
              <a:rPr lang="de-DE" altLang="de-DE" dirty="0"/>
              <a:t>Besondere bAV-Möglichkeiten für Minijobber</a:t>
            </a:r>
            <a:endParaRPr lang="de-DE" dirty="0"/>
          </a:p>
        </p:txBody>
      </p:sp>
      <p:sp>
        <p:nvSpPr>
          <p:cNvPr id="5" name="Abgerundetes Rechteck 24"/>
          <p:cNvSpPr/>
          <p:nvPr/>
        </p:nvSpPr>
        <p:spPr>
          <a:xfrm>
            <a:off x="647095" y="4840181"/>
            <a:ext cx="415347" cy="409710"/>
          </a:xfrm>
          <a:custGeom>
            <a:avLst/>
            <a:gdLst>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415087 w 415087"/>
              <a:gd name="connsiteY2" fmla="*/ 112132 h 414000"/>
              <a:gd name="connsiteX3" fmla="*/ 415087 w 415087"/>
              <a:gd name="connsiteY3" fmla="*/ 301868 h 414000"/>
              <a:gd name="connsiteX4" fmla="*/ 302955 w 415087"/>
              <a:gd name="connsiteY4" fmla="*/ 414000 h 414000"/>
              <a:gd name="connsiteX5" fmla="*/ 112132 w 415087"/>
              <a:gd name="connsiteY5" fmla="*/ 414000 h 414000"/>
              <a:gd name="connsiteX6" fmla="*/ 0 w 415087"/>
              <a:gd name="connsiteY6" fmla="*/ 301868 h 414000"/>
              <a:gd name="connsiteX7" fmla="*/ 0 w 415087"/>
              <a:gd name="connsiteY7" fmla="*/ 112132 h 414000"/>
              <a:gd name="connsiteX0" fmla="*/ 0 w 417243"/>
              <a:gd name="connsiteY0" fmla="*/ 112132 h 414000"/>
              <a:gd name="connsiteX1" fmla="*/ 112132 w 417243"/>
              <a:gd name="connsiteY1" fmla="*/ 0 h 414000"/>
              <a:gd name="connsiteX2" fmla="*/ 417243 w 417243"/>
              <a:gd name="connsiteY2" fmla="*/ 4301 h 414000"/>
              <a:gd name="connsiteX3" fmla="*/ 415087 w 417243"/>
              <a:gd name="connsiteY3" fmla="*/ 301868 h 414000"/>
              <a:gd name="connsiteX4" fmla="*/ 302955 w 417243"/>
              <a:gd name="connsiteY4" fmla="*/ 414000 h 414000"/>
              <a:gd name="connsiteX5" fmla="*/ 112132 w 417243"/>
              <a:gd name="connsiteY5" fmla="*/ 414000 h 414000"/>
              <a:gd name="connsiteX6" fmla="*/ 0 w 417243"/>
              <a:gd name="connsiteY6" fmla="*/ 301868 h 414000"/>
              <a:gd name="connsiteX7" fmla="*/ 0 w 417243"/>
              <a:gd name="connsiteY7" fmla="*/ 112132 h 414000"/>
              <a:gd name="connsiteX0" fmla="*/ 0 w 419399"/>
              <a:gd name="connsiteY0" fmla="*/ 112132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7" fmla="*/ 0 w 419399"/>
              <a:gd name="connsiteY7" fmla="*/ 112132 h 414000"/>
              <a:gd name="connsiteX0" fmla="*/ 0 w 419399"/>
              <a:gd name="connsiteY0" fmla="*/ 112135 h 414003"/>
              <a:gd name="connsiteX1" fmla="*/ 112132 w 419399"/>
              <a:gd name="connsiteY1" fmla="*/ 3 h 414003"/>
              <a:gd name="connsiteX2" fmla="*/ 419399 w 419399"/>
              <a:gd name="connsiteY2" fmla="*/ 2147 h 414003"/>
              <a:gd name="connsiteX3" fmla="*/ 415087 w 419399"/>
              <a:gd name="connsiteY3" fmla="*/ 301871 h 414003"/>
              <a:gd name="connsiteX4" fmla="*/ 302955 w 419399"/>
              <a:gd name="connsiteY4" fmla="*/ 414003 h 414003"/>
              <a:gd name="connsiteX5" fmla="*/ 112132 w 419399"/>
              <a:gd name="connsiteY5" fmla="*/ 414003 h 414003"/>
              <a:gd name="connsiteX6" fmla="*/ 0 w 419399"/>
              <a:gd name="connsiteY6" fmla="*/ 301871 h 414003"/>
              <a:gd name="connsiteX7" fmla="*/ 0 w 419399"/>
              <a:gd name="connsiteY7" fmla="*/ 112135 h 414003"/>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44516"/>
              <a:gd name="connsiteX1" fmla="*/ 112132 w 419399"/>
              <a:gd name="connsiteY1" fmla="*/ 0 h 444516"/>
              <a:gd name="connsiteX2" fmla="*/ 419399 w 419399"/>
              <a:gd name="connsiteY2" fmla="*/ 2144 h 444516"/>
              <a:gd name="connsiteX3" fmla="*/ 415087 w 419399"/>
              <a:gd name="connsiteY3" fmla="*/ 414011 h 444516"/>
              <a:gd name="connsiteX4" fmla="*/ 112132 w 419399"/>
              <a:gd name="connsiteY4" fmla="*/ 414000 h 444516"/>
              <a:gd name="connsiteX5" fmla="*/ 0 w 419399"/>
              <a:gd name="connsiteY5" fmla="*/ 301868 h 444516"/>
              <a:gd name="connsiteX0" fmla="*/ 0 w 419399"/>
              <a:gd name="connsiteY0" fmla="*/ 301868 h 414011"/>
              <a:gd name="connsiteX1" fmla="*/ 112132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4325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299724 h 411867"/>
              <a:gd name="connsiteX1" fmla="*/ 2146 w 419399"/>
              <a:gd name="connsiteY1" fmla="*/ 2169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301868 h 414011"/>
              <a:gd name="connsiteX1" fmla="*/ 2146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2170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5347"/>
              <a:gd name="connsiteY0" fmla="*/ 297567 h 409710"/>
              <a:gd name="connsiteX1" fmla="*/ 2146 w 415347"/>
              <a:gd name="connsiteY1" fmla="*/ 13 h 409710"/>
              <a:gd name="connsiteX2" fmla="*/ 412929 w 415347"/>
              <a:gd name="connsiteY2" fmla="*/ 0 h 409710"/>
              <a:gd name="connsiteX3" fmla="*/ 415087 w 415347"/>
              <a:gd name="connsiteY3" fmla="*/ 409710 h 409710"/>
              <a:gd name="connsiteX4" fmla="*/ 112132 w 415347"/>
              <a:gd name="connsiteY4" fmla="*/ 409699 h 409710"/>
              <a:gd name="connsiteX5" fmla="*/ 0 w 415347"/>
              <a:gd name="connsiteY5" fmla="*/ 297567 h 40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347" h="409710">
                <a:moveTo>
                  <a:pt x="0" y="297567"/>
                </a:moveTo>
                <a:cubicBezTo>
                  <a:pt x="715" y="199101"/>
                  <a:pt x="1431" y="98479"/>
                  <a:pt x="2146" y="13"/>
                </a:cubicBezTo>
                <a:lnTo>
                  <a:pt x="412929" y="0"/>
                </a:lnTo>
                <a:cubicBezTo>
                  <a:pt x="411492" y="137289"/>
                  <a:pt x="416524" y="272421"/>
                  <a:pt x="415087" y="409710"/>
                </a:cubicBezTo>
                <a:lnTo>
                  <a:pt x="112132" y="409699"/>
                </a:lnTo>
                <a:cubicBezTo>
                  <a:pt x="50203" y="409699"/>
                  <a:pt x="0" y="359496"/>
                  <a:pt x="0" y="297567"/>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de-DE" b="1" dirty="0"/>
          </a:p>
        </p:txBody>
      </p:sp>
      <p:sp>
        <p:nvSpPr>
          <p:cNvPr id="2" name="Textplatzhalter 1"/>
          <p:cNvSpPr>
            <a:spLocks noGrp="1"/>
          </p:cNvSpPr>
          <p:nvPr>
            <p:ph type="body" sz="quarter" idx="10"/>
          </p:nvPr>
        </p:nvSpPr>
        <p:spPr/>
        <p:txBody>
          <a:bodyPr/>
          <a:lstStyle/>
          <a:p>
            <a:r>
              <a:rPr lang="de-DE"/>
              <a:t>3.</a:t>
            </a:r>
            <a:endParaRPr lang="de-DE" dirty="0"/>
          </a:p>
        </p:txBody>
      </p:sp>
    </p:spTree>
    <p:extLst>
      <p:ext uri="{BB962C8B-B14F-4D97-AF65-F5344CB8AC3E}">
        <p14:creationId xmlns:p14="http://schemas.microsoft.com/office/powerpoint/2010/main" val="27883608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ie Stuttgarter_PP_Template_09.12.2011_vs_04">
  <a:themeElements>
    <a:clrScheme name="Benutzerdefiniert 1">
      <a:dk1>
        <a:sysClr val="windowText" lastClr="000000"/>
      </a:dk1>
      <a:lt1>
        <a:sysClr val="window" lastClr="FFFFFF"/>
      </a:lt1>
      <a:dk2>
        <a:srgbClr val="009EE0"/>
      </a:dk2>
      <a:lt2>
        <a:srgbClr val="000000"/>
      </a:lt2>
      <a:accent1>
        <a:srgbClr val="000000"/>
      </a:accent1>
      <a:accent2>
        <a:srgbClr val="00A0E1"/>
      </a:accent2>
      <a:accent3>
        <a:srgbClr val="99D9F9"/>
      </a:accent3>
      <a:accent4>
        <a:srgbClr val="68838B"/>
      </a:accent4>
      <a:accent5>
        <a:srgbClr val="B3B3B3"/>
      </a:accent5>
      <a:accent6>
        <a:srgbClr val="F58200"/>
      </a:accent6>
      <a:hlink>
        <a:srgbClr val="000000"/>
      </a:hlink>
      <a:folHlink>
        <a:srgbClr val="000000"/>
      </a:folHlink>
    </a:clrScheme>
    <a:fontScheme name="Office Klassisch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defRPr dirty="0" smtClean="0"/>
        </a:defPPr>
      </a:lstStyle>
    </a:txDef>
  </a:objectDefaults>
  <a:extraClrSchemeLst/>
</a:theme>
</file>

<file path=ppt/theme/theme2.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1786</Words>
  <Application>Microsoft Office PowerPoint</Application>
  <PresentationFormat>Bildschirmpräsentation (4:3)</PresentationFormat>
  <Paragraphs>291</Paragraphs>
  <Slides>27</Slides>
  <Notes>0</Notes>
  <HiddenSlides>0</HiddenSlides>
  <MMClips>0</MMClips>
  <ScaleCrop>false</ScaleCrop>
  <HeadingPairs>
    <vt:vector size="8" baseType="variant">
      <vt:variant>
        <vt:lpstr>Verwendete Schriftarten</vt:lpstr>
      </vt:variant>
      <vt:variant>
        <vt:i4>3</vt:i4>
      </vt:variant>
      <vt:variant>
        <vt:lpstr>Design</vt:lpstr>
      </vt:variant>
      <vt:variant>
        <vt:i4>1</vt:i4>
      </vt:variant>
      <vt:variant>
        <vt:lpstr>Eingebettete OLE-Server</vt:lpstr>
      </vt:variant>
      <vt:variant>
        <vt:i4>1</vt:i4>
      </vt:variant>
      <vt:variant>
        <vt:lpstr>Folientitel</vt:lpstr>
      </vt:variant>
      <vt:variant>
        <vt:i4>27</vt:i4>
      </vt:variant>
    </vt:vector>
  </HeadingPairs>
  <TitlesOfParts>
    <vt:vector size="32" baseType="lpstr">
      <vt:lpstr>Arial</vt:lpstr>
      <vt:lpstr>Arial Narrow</vt:lpstr>
      <vt:lpstr>Wingdings</vt:lpstr>
      <vt:lpstr>Die Stuttgarter_PP_Template_09.12.2011_vs_04</vt:lpstr>
      <vt:lpstr>think-cell Folie</vt:lpstr>
      <vt:lpstr>Mehr Rente durch bAV für  geringfügig Beschäftigte (Minijobber)</vt:lpstr>
      <vt:lpstr>Inhalt</vt:lpstr>
      <vt:lpstr>Warum überhaupt betriebliche Altersversorgung?</vt:lpstr>
      <vt:lpstr>Betriebliche Altersversorgung: Ihre Chance als Minijobber auf eine bessere Rente</vt:lpstr>
      <vt:lpstr>Der Freibetrag macht die bAV attraktiv</vt:lpstr>
      <vt:lpstr>Ihr Recht auf betriebliche Altersversorgung</vt:lpstr>
      <vt:lpstr>Betriebliche Altersversorgung: Ihr gutes Recht auf wirklich gutes Geld</vt:lpstr>
      <vt:lpstr>Die Basis für Ihre Versorgung</vt:lpstr>
      <vt:lpstr>Besondere bAV-Möglichkeiten für Minijobber</vt:lpstr>
      <vt:lpstr>Die Minijob-Lösung in der bAV: Nutzen Sie Ihre Versorgungsmöglichkeiten</vt:lpstr>
      <vt:lpstr>Minijobben fürs Alter: Gesetzliche Rente + Betriebsrente = Solide Versorgung</vt:lpstr>
      <vt:lpstr>Minijobben fürs Alter: Gesetzliche Rente + Betriebsrente = Solide Versorgung</vt:lpstr>
      <vt:lpstr>Minijobben fürs Alter: Mehrarbeit und DRV-Pflicht als Rentenverstärker</vt:lpstr>
      <vt:lpstr>Betriebliche Altersversorgung: Ihre Chancen als Minijobber im Überblick</vt:lpstr>
      <vt:lpstr>Schutz im Fall von Arbeitslosigkeit und Insolvenz</vt:lpstr>
      <vt:lpstr>Fit für den Wandel – speziell für Frauen. Auch kleine Veränderungen macht Ihre bAV mit</vt:lpstr>
      <vt:lpstr>Ihre Direktversicherung ist durch das Gesetz geschützt</vt:lpstr>
      <vt:lpstr>Die Direktversicherung ergänzt die gesetzliche Rente</vt:lpstr>
      <vt:lpstr>Sichere Versorgung: Auch in Krisenzeiten ist Ihre bAV sicher (Direktversicherung)</vt:lpstr>
      <vt:lpstr>So funktioniert die Direktversicherung</vt:lpstr>
      <vt:lpstr>Versorgungskonzept: Ihr Arbeitgeber hat sich DIREKT entschieden</vt:lpstr>
      <vt:lpstr>Die Stuttgarter – Partner für Ihre bAV</vt:lpstr>
      <vt:lpstr>Die Stuttgarter: Darauf können Sie sich in Zukunft verlassen</vt:lpstr>
      <vt:lpstr>Persönliches Gespräch: Lassen Sie uns gemeinsam ins Detail gehen</vt:lpstr>
      <vt:lpstr>PowerPoint-Präsentation</vt:lpstr>
      <vt:lpstr>PowerPoint-Präsentation</vt:lpstr>
      <vt:lpstr>PowerPoint-Präsentation</vt:lpstr>
    </vt:vector>
  </TitlesOfParts>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äsentation Geschäftspartner bAV - Teil 2</dc:title>
  <dc:creator>Stuttgarter Vorsorge-Management GmbH</dc:creator>
  <cp:lastModifiedBy>Username</cp:lastModifiedBy>
  <cp:revision>370</cp:revision>
  <cp:lastPrinted>2018-11-17T13:16:30Z</cp:lastPrinted>
  <dcterms:created xsi:type="dcterms:W3CDTF">2011-12-30T14:46:55Z</dcterms:created>
  <dcterms:modified xsi:type="dcterms:W3CDTF">2020-01-03T12:08:10Z</dcterms:modified>
</cp:coreProperties>
</file>